
<file path=[Content_Types].xml><?xml version="1.0" encoding="utf-8"?>
<Types xmlns="http://schemas.openxmlformats.org/package/2006/content-types">
  <Default Extension="wmf" ContentType="image/x-wmf"/>
  <Default Extension="png" ContentType="image/png"/>
  <Default Extension="jpg" ContentType="image/jpeg"/>
  <Default Extension="jpeg" ContentType="image/jpeg"/>
  <Default Extension="xml" ContentType="application/xml"/>
  <Default Extension="emf" ContentType="image/x-emf"/>
  <Default Extension="rels" ContentType="application/vnd.openxmlformats-package.relationships+xml"/>
  <Default Extension="bin" ContentType="application/vnd.openxmlformats-officedocument.oleObject"/>
  <Override PartName="/ppt/slides/slide11.xml" ContentType="application/vnd.openxmlformats-officedocument.presentationml.slide+xml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slides/slide6.xml" ContentType="application/vnd.openxmlformats-officedocument.presentationml.slide+xml"/>
  <Override PartName="/ppt/slides/slide3.xml" ContentType="application/vnd.openxmlformats-officedocument.presentationml.slide+xml"/>
  <Override PartName="/ppt/slideLayouts/slideLayout2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s/slide7.xml" ContentType="application/vnd.openxmlformats-officedocument.presentationml.slide+xml"/>
  <Override PartName="/ppt/slideLayouts/slideLayout13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s/slide4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s/slide1.xml" ContentType="application/vnd.openxmlformats-officedocument.presentationml.slide+xml"/>
  <Override PartName="/ppt/slideLayouts/slideLayout8.xml" ContentType="application/vnd.openxmlformats-officedocument.presentationml.slideLayout+xml"/>
  <Override PartName="/ppt/slides/slide5.xml" ContentType="application/vnd.openxmlformats-officedocument.presentationml.slide+xml"/>
  <Override PartName="/ppt/slideLayouts/slideLayout2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11.xml" ContentType="application/vnd.openxmlformats-officedocument.presentationml.slideLayout+xml"/>
  <Override PartName="/ppt/tableStyles.xml" ContentType="application/vnd.openxmlformats-officedocument.presentationml.tableStyles+xml"/>
  <Override PartName="/ppt/theme/theme1.xml" ContentType="application/vnd.openxmlformats-officedocument.theme+xml"/>
  <Override PartName="/ppt/slideLayouts/slideLayout1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s/slide2.xml" ContentType="application/vnd.openxmlformats-officedocument.presentationml.slide+xml"/>
  <Override PartName="/ppt/viewProps.xml" ContentType="application/vnd.openxmlformats-officedocument.presentationml.viewProps+xml"/>
  <Override PartName="/ppt/slideLayouts/slideLayout6.xml" ContentType="application/vnd.openxmlformats-officedocument.presentationml.slideLayout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docProps/app.xml" ContentType="application/vnd.openxmlformats-officedocument.extended-properties+xml"/>
  <Override PartName="/docProps/core.xml" ContentType="application/vnd.openxmlformats-package.core-properties+xml"/>
  <Override PartName="/ppt/presentation.xml" ContentType="application/vnd.openxmlformats-officedocument.presentationml.presentation.main+xml"/>
  <Override PartName="/ppt/slideLayouts/slideLayout18.xml" ContentType="application/vnd.openxmlformats-officedocument.presentationml.slideLayout+xml"/>
</Types>
</file>

<file path=_rels/.rels><?xml version="1.0" encoding="UTF-8" standalone="yes"?><Relationships xmlns="http://schemas.openxmlformats.org/package/2006/relationships"><Relationship Id="rId3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2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aveSubsetFonts="1">
  <p:sldMasterIdLst>
    <p:sldMasterId id="2147483648" r:id="rId1"/>
  </p:sldMasterIdLst>
  <p:sldIdLst>
    <p:sldId id="256" r:id="rId3"/>
    <p:sldId id="257" r:id="rId4"/>
    <p:sldId id="258" r:id="rId5"/>
    <p:sldId id="259" r:id="rId6"/>
    <p:sldId id="260" r:id="rId7"/>
    <p:sldId id="261" r:id="rId8"/>
    <p:sldId id="262" r:id="rId9"/>
    <p:sldId id="263" r:id="rId10"/>
    <p:sldId id="264" r:id="rId11"/>
    <p:sldId id="265" r:id="rId12"/>
    <p:sldId id="266" r:id="rId13"/>
  </p:sldIdLst>
  <p:sldSz cx="9144000" cy="5145088"/>
  <p:notesSz cx="9144000" cy="5145088"/>
  <p:defaultTextStyle>
    <a:defPPr>
      <a:defRPr lang="en-US"/>
    </a:defPPr>
    <a:lvl1pPr marL="0" algn="l" defTabSz="4572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>
      <a:defRPr sz="18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</p:showPr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howGuides="1" snapToGrid="0">
      <p:cViewPr varScale="1">
        <p:scale>
          <a:sx n="152" d="100"/>
          <a:sy n="152" d="100"/>
        </p:scale>
        <p:origin x="504" y="138"/>
      </p:cViewPr>
      <p:guideLst>
        <p:guide pos="1621" orient="horz"/>
        <p:guide pos="2880"/>
      </p:guideLst>
    </p:cSldViewPr>
  </p:slideViewPr>
  <p:gridSpacing cx="72008" cy="72008"/>
</p:viewPr>
</file>

<file path=ppt/_rels/presentation.xml.rels><?xml version="1.0" encoding="UTF-8" standalone="yes"?>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theme" Target="theme/theme1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Relationship Id="rId9" Type="http://schemas.openxmlformats.org/officeDocument/2006/relationships/slide" Target="slides/slide7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Relationship Id="rId13" Type="http://schemas.openxmlformats.org/officeDocument/2006/relationships/slide" Target="slides/slide11.xml"/><Relationship Id="rId14" Type="http://schemas.openxmlformats.org/officeDocument/2006/relationships/presProps" Target="presProps.xml" /><Relationship Id="rId15" Type="http://schemas.openxmlformats.org/officeDocument/2006/relationships/tableStyles" Target="tableStyles.xml" /><Relationship Id="rId16" Type="http://schemas.openxmlformats.org/officeDocument/2006/relationships/viewProps" Target="viewProps.xml" /></Relationships>
</file>

<file path=ppt/slideLayouts/_rels/slideLayout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oleObject" Target="../embeddings/oleObject2.bin"/><Relationship Id="rId3" Type="http://schemas.openxmlformats.org/officeDocument/2006/relationships/image" Target="../media/image3.wmf"/></Relationships>
</file>

<file path=ppt/slideLayouts/_rels/slideLayout1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oleObject" Target="../embeddings/oleObject3.bin"/><Relationship Id="rId3" Type="http://schemas.openxmlformats.org/officeDocument/2006/relationships/image" Target="../media/image3.wmf"/></Relationships>
</file>

<file path=ppt/slideLayouts/_rels/slideLayout2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wmf"/></Relationships>
</file>

<file path=ppt/slideLayouts/_rels/slideLayout2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0" userDrawn="1">
  <p:cSld name="Title Colo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2" imgW="0" imgH="0" progId="TCLayout.ActiveDocument.1">
              <p:embed/>
              <p:pic>
                <p:nvPicPr>
                  <p:cNvPr id="16" name=""/>
                  <p:cNvPicPr/>
                  <p:nvPr/>
                </p:nvPicPr>
                <p:blipFill>
                  <a:blip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11" name="Rechteck 10"/>
          <p:cNvSpPr/>
          <p:nvPr userDrawn="1"/>
        </p:nvSpPr>
        <p:spPr bwMode="auto">
          <a:xfrm>
            <a:off x="0" y="0"/>
            <a:ext cx="9144000" cy="426203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>
              <a:defRPr/>
            </a:pPr>
            <a:endParaRPr lang="ru-RU" sz="1600"/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auto">
          <a:xfrm>
            <a:off x="288000" y="1276350"/>
            <a:ext cx="8570050" cy="1105303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  <a:latin typeface="Arial Black"/>
              </a:defRPr>
            </a:lvl1pPr>
          </a:lstStyle>
          <a:p>
            <a:pPr>
              <a:defRPr/>
            </a:pPr>
            <a:r>
              <a:rPr lang="ru-RU"/>
              <a:t>MegaFon Presentation title in</a:t>
            </a:r>
            <a:br>
              <a:rPr lang="ru-RU"/>
            </a:br>
            <a:r>
              <a:rPr lang="ru-RU"/>
              <a:t>two lines of copy text (34pt)</a:t>
            </a:r>
            <a:endParaRPr lang="ru-RU"/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288000" y="2498803"/>
            <a:ext cx="7108825" cy="224106"/>
          </a:xfrm>
        </p:spPr>
        <p:txBody>
          <a:bodyPr/>
          <a:lstStyle>
            <a:lvl1pPr>
              <a:defRPr sz="1200">
                <a:solidFill>
                  <a:schemeClr val="accent2"/>
                </a:solidFill>
                <a:latin typeface="Arial Black"/>
              </a:defRPr>
            </a:lvl1pPr>
            <a:lvl2pPr>
              <a:defRPr>
                <a:latin typeface="Arial Black"/>
              </a:defRPr>
            </a:lvl2pPr>
            <a:lvl3pPr>
              <a:defRPr>
                <a:latin typeface="Arial Black"/>
              </a:defRPr>
            </a:lvl3pPr>
            <a:lvl4pPr>
              <a:defRPr>
                <a:latin typeface="Arial Black"/>
              </a:defRPr>
            </a:lvl4pPr>
            <a:lvl5pPr>
              <a:defRPr>
                <a:latin typeface="Arial Black"/>
              </a:defRPr>
            </a:lvl5pPr>
          </a:lstStyle>
          <a:p>
            <a:pPr lvl="0">
              <a:defRPr/>
            </a:pPr>
            <a:r>
              <a:rPr lang="ru-RU"/>
              <a:t>Presenter (12pt), City, Month 2018</a:t>
            </a:r>
            <a:endParaRPr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/>
          <a:stretch/>
        </p:blipFill>
        <p:spPr bwMode="auto">
          <a:xfrm>
            <a:off x="7004050" y="4535798"/>
            <a:ext cx="1854000" cy="32957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Content - three columns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291600" y="252000"/>
            <a:ext cx="8564400" cy="590963"/>
          </a:xfrm>
        </p:spPr>
        <p:txBody>
          <a:bodyPr/>
          <a:lstStyle/>
          <a:p>
            <a:pPr>
              <a:defRPr/>
            </a:pPr>
            <a:r>
              <a:rPr lang="ru-RU"/>
              <a:t>Headline example (20pt), </a:t>
            </a:r>
            <a:br>
              <a:rPr lang="ru-RU"/>
            </a:br>
            <a:r>
              <a:rPr lang="ru-RU"/>
              <a:t>in two lines. </a:t>
            </a:r>
            <a:endParaRPr lang="ru-RU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67B0B7E4-3F8B-4DE7-8320-EE272DE6348C}" type="datetime1">
              <a:rPr lang="ru-RU"/>
              <a:t/>
            </a:fld>
            <a:endParaRPr lang="ru-RU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MegaFon | Presentation title and subtitle</a:t>
            </a:r>
            <a:endParaRPr lang="ru-RU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0F83C6A9-09AF-44EB-BB3F-3943791E8916}" type="slidenum">
              <a:rPr lang="ru-RU"/>
              <a:t/>
            </a:fld>
            <a:endParaRPr lang="ru-RU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auto">
          <a:xfrm>
            <a:off x="292101" y="1276350"/>
            <a:ext cx="2732088" cy="3077538"/>
          </a:xfrm>
        </p:spPr>
        <p:txBody>
          <a:bodyPr/>
          <a:lstStyle/>
          <a:p>
            <a:pPr lvl="0">
              <a:defRPr/>
            </a:pPr>
            <a:r>
              <a:rPr lang="ru-RU"/>
              <a:t>Edit flowing text level 12pt to (16pt)</a:t>
            </a:r>
            <a:endParaRPr/>
          </a:p>
          <a:p>
            <a:pPr lvl="1">
              <a:defRPr/>
            </a:pPr>
            <a:r>
              <a:rPr lang="ru-RU"/>
              <a:t>Second level</a:t>
            </a:r>
            <a:endParaRPr/>
          </a:p>
          <a:p>
            <a:pPr lvl="2">
              <a:defRPr/>
            </a:pPr>
            <a:r>
              <a:rPr lang="ru-RU"/>
              <a:t>Third level</a:t>
            </a:r>
            <a:endParaRPr/>
          </a:p>
          <a:p>
            <a:pPr lvl="3">
              <a:defRPr/>
            </a:pPr>
            <a:r>
              <a:rPr lang="ru-RU"/>
              <a:t>Fourth level</a:t>
            </a:r>
            <a:endParaRPr/>
          </a:p>
          <a:p>
            <a:pPr lvl="4">
              <a:defRPr/>
            </a:pPr>
            <a:r>
              <a:rPr lang="ru-RU"/>
              <a:t>Fifth level</a:t>
            </a:r>
            <a:endParaRPr lang="ru-RU"/>
          </a:p>
        </p:txBody>
      </p:sp>
      <p:sp>
        <p:nvSpPr>
          <p:cNvPr id="8" name="Inhaltsplatzhalter 6"/>
          <p:cNvSpPr>
            <a:spLocks noGrp="1"/>
          </p:cNvSpPr>
          <p:nvPr>
            <p:ph sz="quarter" idx="14" hasCustomPrompt="1"/>
          </p:nvPr>
        </p:nvSpPr>
        <p:spPr bwMode="auto">
          <a:xfrm>
            <a:off x="3213101" y="1276350"/>
            <a:ext cx="2717800" cy="3077538"/>
          </a:xfrm>
        </p:spPr>
        <p:txBody>
          <a:bodyPr/>
          <a:lstStyle/>
          <a:p>
            <a:pPr lvl="0">
              <a:defRPr/>
            </a:pPr>
            <a:r>
              <a:rPr lang="ru-RU"/>
              <a:t>Edit flowing text level 12pt to (16pt)</a:t>
            </a:r>
            <a:endParaRPr/>
          </a:p>
          <a:p>
            <a:pPr lvl="1">
              <a:defRPr/>
            </a:pPr>
            <a:r>
              <a:rPr lang="ru-RU"/>
              <a:t>Second level</a:t>
            </a:r>
            <a:endParaRPr/>
          </a:p>
          <a:p>
            <a:pPr lvl="2">
              <a:defRPr/>
            </a:pPr>
            <a:r>
              <a:rPr lang="ru-RU"/>
              <a:t>Third level</a:t>
            </a:r>
            <a:endParaRPr/>
          </a:p>
          <a:p>
            <a:pPr lvl="3">
              <a:defRPr/>
            </a:pPr>
            <a:r>
              <a:rPr lang="ru-RU"/>
              <a:t>Fourth level</a:t>
            </a:r>
            <a:endParaRPr/>
          </a:p>
          <a:p>
            <a:pPr lvl="4">
              <a:defRPr/>
            </a:pPr>
            <a:r>
              <a:rPr lang="ru-RU"/>
              <a:t>Fifth level</a:t>
            </a:r>
            <a:endParaRPr lang="ru-RU"/>
          </a:p>
        </p:txBody>
      </p:sp>
      <p:sp>
        <p:nvSpPr>
          <p:cNvPr id="9" name="Inhaltsplatzhalter 6"/>
          <p:cNvSpPr>
            <a:spLocks noGrp="1"/>
          </p:cNvSpPr>
          <p:nvPr>
            <p:ph sz="quarter" idx="15" hasCustomPrompt="1"/>
          </p:nvPr>
        </p:nvSpPr>
        <p:spPr bwMode="auto">
          <a:xfrm>
            <a:off x="6138200" y="1276350"/>
            <a:ext cx="2717800" cy="3077538"/>
          </a:xfrm>
        </p:spPr>
        <p:txBody>
          <a:bodyPr/>
          <a:lstStyle/>
          <a:p>
            <a:pPr lvl="0">
              <a:defRPr/>
            </a:pPr>
            <a:r>
              <a:rPr lang="ru-RU"/>
              <a:t>Edit flowing text level 12pt to (16pt)</a:t>
            </a:r>
            <a:endParaRPr/>
          </a:p>
          <a:p>
            <a:pPr lvl="1">
              <a:defRPr/>
            </a:pPr>
            <a:r>
              <a:rPr lang="ru-RU"/>
              <a:t>Second level</a:t>
            </a:r>
            <a:endParaRPr/>
          </a:p>
          <a:p>
            <a:pPr lvl="2">
              <a:defRPr/>
            </a:pPr>
            <a:r>
              <a:rPr lang="ru-RU"/>
              <a:t>Third level</a:t>
            </a:r>
            <a:endParaRPr/>
          </a:p>
          <a:p>
            <a:pPr lvl="3">
              <a:defRPr/>
            </a:pPr>
            <a:r>
              <a:rPr lang="ru-RU"/>
              <a:t>Fourth level</a:t>
            </a:r>
            <a:endParaRPr/>
          </a:p>
          <a:p>
            <a:pPr lvl="4">
              <a:defRPr/>
            </a:pPr>
            <a:r>
              <a:rPr lang="ru-RU"/>
              <a:t>Fifth level</a:t>
            </a:r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0" userDrawn="1">
  <p:cSld name="Content - full pictur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Headline example (20pt), </a:t>
            </a:r>
            <a:br>
              <a:rPr lang="ru-RU"/>
            </a:br>
            <a:r>
              <a:rPr lang="ru-RU"/>
              <a:t>in two lines. </a:t>
            </a:r>
            <a:endParaRPr lang="ru-RU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 bwMode="auto">
          <a:xfrm>
            <a:off x="0" y="1276350"/>
            <a:ext cx="9144000" cy="3868738"/>
          </a:xfrm>
        </p:spPr>
        <p:txBody>
          <a:bodyPr anchor="ctr" anchorCtr="0"/>
          <a:lstStyle>
            <a:lvl1pPr algn="ctr">
              <a:defRPr/>
            </a:lvl1pPr>
          </a:lstStyle>
          <a:p>
            <a:pPr>
              <a:defRPr/>
            </a:pPr>
            <a:r>
              <a:rPr lang="ru-RU"/>
              <a:t>Picture</a:t>
            </a:r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Content - two pictures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291600" y="252000"/>
            <a:ext cx="8564400" cy="590963"/>
          </a:xfrm>
        </p:spPr>
        <p:txBody>
          <a:bodyPr/>
          <a:lstStyle/>
          <a:p>
            <a:pPr>
              <a:defRPr/>
            </a:pPr>
            <a:r>
              <a:rPr lang="ru-RU"/>
              <a:t>Headline example (20pt), </a:t>
            </a:r>
            <a:br>
              <a:rPr lang="ru-RU"/>
            </a:br>
            <a:r>
              <a:rPr lang="ru-RU"/>
              <a:t>in two lines. </a:t>
            </a:r>
            <a:endParaRPr lang="ru-RU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7499A52E-B485-4515-864C-7526FCEC2E76}" type="datetime1">
              <a:rPr lang="ru-RU"/>
              <a:t/>
            </a:fld>
            <a:endParaRPr lang="ru-RU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MegaFon | Presentation title and subtitle</a:t>
            </a:r>
            <a:endParaRPr lang="ru-RU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0F83C6A9-09AF-44EB-BB3F-3943791E8916}" type="slidenum">
              <a:rPr lang="ru-RU"/>
              <a:t/>
            </a:fld>
            <a:endParaRPr lang="ru-RU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4" hasCustomPrompt="1"/>
          </p:nvPr>
        </p:nvSpPr>
        <p:spPr bwMode="auto">
          <a:xfrm>
            <a:off x="291600" y="1276350"/>
            <a:ext cx="4186800" cy="3077538"/>
          </a:xfrm>
        </p:spPr>
        <p:txBody>
          <a:bodyPr anchor="ctr"/>
          <a:lstStyle>
            <a:lvl1pPr algn="ctr">
              <a:defRPr/>
            </a:lvl1pPr>
          </a:lstStyle>
          <a:p>
            <a:pPr>
              <a:defRPr/>
            </a:pPr>
            <a:r>
              <a:rPr lang="ru-RU"/>
              <a:t>Picture</a:t>
            </a:r>
            <a:endParaRPr lang="ru-RU"/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5" hasCustomPrompt="1"/>
          </p:nvPr>
        </p:nvSpPr>
        <p:spPr bwMode="auto">
          <a:xfrm>
            <a:off x="4669200" y="1276350"/>
            <a:ext cx="4186800" cy="3077538"/>
          </a:xfrm>
        </p:spPr>
        <p:txBody>
          <a:bodyPr anchor="ctr"/>
          <a:lstStyle>
            <a:lvl1pPr algn="ctr">
              <a:defRPr/>
            </a:lvl1pPr>
          </a:lstStyle>
          <a:p>
            <a:pPr>
              <a:defRPr/>
            </a:pPr>
            <a:r>
              <a:rPr lang="ru-RU"/>
              <a:t>Picture</a:t>
            </a:r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Content - two pictures asymmetrical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291600" y="252000"/>
            <a:ext cx="8564400" cy="590963"/>
          </a:xfrm>
        </p:spPr>
        <p:txBody>
          <a:bodyPr/>
          <a:lstStyle/>
          <a:p>
            <a:pPr>
              <a:defRPr/>
            </a:pPr>
            <a:r>
              <a:rPr lang="ru-RU"/>
              <a:t>Headline example (20pt), </a:t>
            </a:r>
            <a:br>
              <a:rPr lang="ru-RU"/>
            </a:br>
            <a:r>
              <a:rPr lang="ru-RU"/>
              <a:t>in two lines. </a:t>
            </a:r>
            <a:endParaRPr lang="ru-RU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778DB969-AD4F-415E-989A-93CCB4B6894A}" type="datetime1">
              <a:rPr lang="ru-RU"/>
              <a:t/>
            </a:fld>
            <a:endParaRPr lang="ru-RU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MegaFon | Presentation title and subtitle</a:t>
            </a:r>
            <a:endParaRPr lang="ru-RU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0F83C6A9-09AF-44EB-BB3F-3943791E8916}" type="slidenum">
              <a:rPr lang="ru-RU"/>
              <a:t/>
            </a:fld>
            <a:endParaRPr lang="ru-RU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4" hasCustomPrompt="1"/>
          </p:nvPr>
        </p:nvSpPr>
        <p:spPr bwMode="auto">
          <a:xfrm>
            <a:off x="291600" y="1276350"/>
            <a:ext cx="5639300" cy="3077538"/>
          </a:xfrm>
        </p:spPr>
        <p:txBody>
          <a:bodyPr anchor="ctr"/>
          <a:lstStyle>
            <a:lvl1pPr algn="ctr">
              <a:defRPr/>
            </a:lvl1pPr>
          </a:lstStyle>
          <a:p>
            <a:pPr>
              <a:defRPr/>
            </a:pPr>
            <a:r>
              <a:rPr lang="ru-RU"/>
              <a:t>Picture</a:t>
            </a:r>
            <a:endParaRPr lang="ru-RU"/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5" hasCustomPrompt="1"/>
          </p:nvPr>
        </p:nvSpPr>
        <p:spPr bwMode="auto">
          <a:xfrm>
            <a:off x="6138000" y="1276350"/>
            <a:ext cx="2718000" cy="3077538"/>
          </a:xfrm>
        </p:spPr>
        <p:txBody>
          <a:bodyPr anchor="ctr"/>
          <a:lstStyle>
            <a:lvl1pPr algn="ctr">
              <a:defRPr/>
            </a:lvl1pPr>
          </a:lstStyle>
          <a:p>
            <a:pPr>
              <a:defRPr/>
            </a:pPr>
            <a:r>
              <a:rPr lang="ru-RU"/>
              <a:t>Picture</a:t>
            </a:r>
            <a:endParaRPr lang="ru-RU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Content - text left, picture righ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Headline example (20pt), </a:t>
            </a:r>
            <a:br>
              <a:rPr lang="ru-RU"/>
            </a:br>
            <a:r>
              <a:rPr lang="ru-RU"/>
              <a:t>in two lines. </a:t>
            </a:r>
            <a:endParaRPr lang="ru-RU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F708C1A3-F62B-43BF-A565-2E59C51203AB}" type="datetime1">
              <a:rPr lang="ru-RU"/>
              <a:t/>
            </a:fld>
            <a:endParaRPr lang="ru-RU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MegaFon | Presentation title and subtitle</a:t>
            </a:r>
            <a:endParaRPr lang="ru-RU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0F83C6A9-09AF-44EB-BB3F-3943791E8916}" type="slidenum">
              <a:rPr lang="ru-RU"/>
              <a:t/>
            </a:fld>
            <a:endParaRPr lang="ru-RU"/>
          </a:p>
        </p:txBody>
      </p:sp>
      <p:sp>
        <p:nvSpPr>
          <p:cNvPr id="6" name="Inhaltsplatzhalter 6"/>
          <p:cNvSpPr>
            <a:spLocks noGrp="1"/>
          </p:cNvSpPr>
          <p:nvPr>
            <p:ph sz="quarter" idx="13" hasCustomPrompt="1"/>
          </p:nvPr>
        </p:nvSpPr>
        <p:spPr bwMode="auto">
          <a:xfrm>
            <a:off x="292100" y="1276349"/>
            <a:ext cx="4187825" cy="3076574"/>
          </a:xfrm>
        </p:spPr>
        <p:txBody>
          <a:bodyPr/>
          <a:lstStyle/>
          <a:p>
            <a:pPr lvl="0">
              <a:defRPr/>
            </a:pPr>
            <a:r>
              <a:rPr lang="ru-RU"/>
              <a:t>Edit flowing text level 12pt to (16pt) to 32pt</a:t>
            </a:r>
            <a:endParaRPr/>
          </a:p>
          <a:p>
            <a:pPr lvl="1">
              <a:defRPr/>
            </a:pPr>
            <a:r>
              <a:rPr lang="ru-RU"/>
              <a:t>Second level</a:t>
            </a:r>
            <a:endParaRPr/>
          </a:p>
          <a:p>
            <a:pPr lvl="2">
              <a:defRPr/>
            </a:pPr>
            <a:r>
              <a:rPr lang="ru-RU"/>
              <a:t>Third level</a:t>
            </a:r>
            <a:endParaRPr/>
          </a:p>
          <a:p>
            <a:pPr lvl="3">
              <a:defRPr/>
            </a:pPr>
            <a:r>
              <a:rPr lang="ru-RU"/>
              <a:t>Fourth level</a:t>
            </a:r>
            <a:endParaRPr/>
          </a:p>
          <a:p>
            <a:pPr lvl="4">
              <a:defRPr/>
            </a:pPr>
            <a:r>
              <a:rPr lang="ru-RU"/>
              <a:t>Fifth level</a:t>
            </a:r>
            <a:endParaRPr lang="ru-RU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5" hasCustomPrompt="1"/>
          </p:nvPr>
        </p:nvSpPr>
        <p:spPr bwMode="auto">
          <a:xfrm>
            <a:off x="4669200" y="1277312"/>
            <a:ext cx="4186800" cy="3076574"/>
          </a:xfrm>
        </p:spPr>
        <p:txBody>
          <a:bodyPr anchor="ctr"/>
          <a:lstStyle>
            <a:lvl1pPr algn="ctr">
              <a:defRPr/>
            </a:lvl1pPr>
          </a:lstStyle>
          <a:p>
            <a:pPr>
              <a:defRPr/>
            </a:pPr>
            <a:r>
              <a:rPr lang="ru-RU"/>
              <a:t>Picture</a:t>
            </a:r>
            <a:endParaRPr lang="ru-RU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Content - text left, picture right asymmetrical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Headline example (20pt), </a:t>
            </a:r>
            <a:br>
              <a:rPr lang="ru-RU"/>
            </a:br>
            <a:r>
              <a:rPr lang="ru-RU"/>
              <a:t>in two lines. </a:t>
            </a:r>
            <a:endParaRPr lang="ru-RU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D3EEBD49-CA36-4759-849E-8C7961BE8AB3}" type="datetime1">
              <a:rPr lang="ru-RU"/>
              <a:t/>
            </a:fld>
            <a:endParaRPr lang="ru-RU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MegaFon | Presentation title and subtitle</a:t>
            </a:r>
            <a:endParaRPr lang="ru-RU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0F83C6A9-09AF-44EB-BB3F-3943791E8916}" type="slidenum">
              <a:rPr lang="ru-RU"/>
              <a:t/>
            </a:fld>
            <a:endParaRPr lang="ru-RU"/>
          </a:p>
        </p:txBody>
      </p:sp>
      <p:sp>
        <p:nvSpPr>
          <p:cNvPr id="6" name="Bildplatzhalter 7"/>
          <p:cNvSpPr>
            <a:spLocks noGrp="1"/>
          </p:cNvSpPr>
          <p:nvPr>
            <p:ph type="pic" sz="quarter" idx="15" hasCustomPrompt="1"/>
          </p:nvPr>
        </p:nvSpPr>
        <p:spPr bwMode="auto">
          <a:xfrm>
            <a:off x="6138000" y="1276350"/>
            <a:ext cx="2718000" cy="3077538"/>
          </a:xfrm>
        </p:spPr>
        <p:txBody>
          <a:bodyPr anchor="ctr"/>
          <a:lstStyle>
            <a:lvl1pPr algn="ctr">
              <a:defRPr/>
            </a:lvl1pPr>
          </a:lstStyle>
          <a:p>
            <a:pPr>
              <a:defRPr/>
            </a:pPr>
            <a:r>
              <a:rPr lang="ru-RU"/>
              <a:t>Picture</a:t>
            </a:r>
            <a:endParaRPr lang="ru-RU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auto">
          <a:xfrm>
            <a:off x="292099" y="1275387"/>
            <a:ext cx="5641200" cy="3077538"/>
          </a:xfrm>
        </p:spPr>
        <p:txBody>
          <a:bodyPr/>
          <a:lstStyle/>
          <a:p>
            <a:pPr lvl="0">
              <a:defRPr/>
            </a:pPr>
            <a:r>
              <a:rPr lang="ru-RU"/>
              <a:t>Edit flowing text level 12pt to (16pt) to 32pt</a:t>
            </a:r>
            <a:endParaRPr/>
          </a:p>
          <a:p>
            <a:pPr lvl="1">
              <a:defRPr/>
            </a:pPr>
            <a:r>
              <a:rPr lang="ru-RU"/>
              <a:t>Second level</a:t>
            </a:r>
            <a:endParaRPr/>
          </a:p>
          <a:p>
            <a:pPr lvl="2">
              <a:defRPr/>
            </a:pPr>
            <a:r>
              <a:rPr lang="ru-RU"/>
              <a:t>Third level</a:t>
            </a:r>
            <a:endParaRPr/>
          </a:p>
          <a:p>
            <a:pPr lvl="3">
              <a:defRPr/>
            </a:pPr>
            <a:r>
              <a:rPr lang="ru-RU"/>
              <a:t>Fourth level</a:t>
            </a:r>
            <a:endParaRPr/>
          </a:p>
          <a:p>
            <a:pPr lvl="4">
              <a:defRPr/>
            </a:pPr>
            <a:r>
              <a:rPr lang="ru-RU"/>
              <a:t>Fifth level</a:t>
            </a:r>
            <a:endParaRPr lang="ru-RU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Content - picture left, text right, asymmetrical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Headline example (20pt), </a:t>
            </a:r>
            <a:br>
              <a:rPr lang="ru-RU"/>
            </a:br>
            <a:r>
              <a:rPr lang="ru-RU"/>
              <a:t>in two lines. </a:t>
            </a:r>
            <a:endParaRPr lang="ru-RU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9447BA6A-FC03-4BF1-BD52-8E3246239BE0}" type="datetime1">
              <a:rPr lang="ru-RU"/>
              <a:t/>
            </a:fld>
            <a:endParaRPr lang="ru-RU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MegaFon | Presentation title and subtitle</a:t>
            </a:r>
            <a:endParaRPr lang="ru-RU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0F83C6A9-09AF-44EB-BB3F-3943791E8916}" type="slidenum">
              <a:rPr lang="ru-RU"/>
              <a:t/>
            </a:fld>
            <a:endParaRPr lang="ru-RU"/>
          </a:p>
        </p:txBody>
      </p:sp>
      <p:sp>
        <p:nvSpPr>
          <p:cNvPr id="6" name="Inhaltsplatzhalter 6"/>
          <p:cNvSpPr>
            <a:spLocks noGrp="1"/>
          </p:cNvSpPr>
          <p:nvPr>
            <p:ph sz="quarter" idx="15" hasCustomPrompt="1"/>
          </p:nvPr>
        </p:nvSpPr>
        <p:spPr bwMode="auto">
          <a:xfrm>
            <a:off x="6138200" y="1276350"/>
            <a:ext cx="2717800" cy="3077538"/>
          </a:xfrm>
        </p:spPr>
        <p:txBody>
          <a:bodyPr/>
          <a:lstStyle/>
          <a:p>
            <a:pPr lvl="0">
              <a:defRPr/>
            </a:pPr>
            <a:r>
              <a:rPr lang="ru-RU"/>
              <a:t>Edit flowing text level 12pt to (16pt) to 32pt</a:t>
            </a:r>
            <a:endParaRPr/>
          </a:p>
          <a:p>
            <a:pPr lvl="1">
              <a:defRPr/>
            </a:pPr>
            <a:r>
              <a:rPr lang="ru-RU"/>
              <a:t>Second level</a:t>
            </a:r>
            <a:endParaRPr/>
          </a:p>
          <a:p>
            <a:pPr lvl="2">
              <a:defRPr/>
            </a:pPr>
            <a:r>
              <a:rPr lang="ru-RU"/>
              <a:t>Third level</a:t>
            </a:r>
            <a:endParaRPr/>
          </a:p>
          <a:p>
            <a:pPr lvl="3">
              <a:defRPr/>
            </a:pPr>
            <a:r>
              <a:rPr lang="ru-RU"/>
              <a:t>Fourth level</a:t>
            </a:r>
            <a:endParaRPr/>
          </a:p>
          <a:p>
            <a:pPr lvl="4">
              <a:defRPr/>
            </a:pPr>
            <a:r>
              <a:rPr lang="ru-RU"/>
              <a:t>Fifth level</a:t>
            </a:r>
            <a:endParaRPr lang="ru-RU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4" hasCustomPrompt="1"/>
          </p:nvPr>
        </p:nvSpPr>
        <p:spPr bwMode="auto">
          <a:xfrm>
            <a:off x="291600" y="1276350"/>
            <a:ext cx="5639300" cy="3077538"/>
          </a:xfrm>
        </p:spPr>
        <p:txBody>
          <a:bodyPr anchor="ctr"/>
          <a:lstStyle>
            <a:lvl1pPr algn="ctr">
              <a:defRPr/>
            </a:lvl1pPr>
          </a:lstStyle>
          <a:p>
            <a:pPr>
              <a:defRPr/>
            </a:pPr>
            <a:r>
              <a:rPr lang="ru-RU"/>
              <a:t>Picture</a:t>
            </a:r>
            <a:endParaRPr lang="ru-RU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Content - picture left, small text righ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Headline example (20pt), </a:t>
            </a:r>
            <a:br>
              <a:rPr lang="ru-RU"/>
            </a:br>
            <a:r>
              <a:rPr lang="ru-RU"/>
              <a:t>in two lines. </a:t>
            </a:r>
            <a:endParaRPr lang="ru-RU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F295BBDA-4A47-4915-92DD-ECAFA42AAC93}" type="datetime1">
              <a:rPr lang="ru-RU"/>
              <a:t/>
            </a:fld>
            <a:endParaRPr lang="ru-RU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MegaFon | Presentation title and subtitle</a:t>
            </a:r>
            <a:endParaRPr lang="ru-RU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0F83C6A9-09AF-44EB-BB3F-3943791E8916}" type="slidenum">
              <a:rPr lang="ru-RU"/>
              <a:t/>
            </a:fld>
            <a:endParaRPr lang="ru-RU"/>
          </a:p>
        </p:txBody>
      </p:sp>
      <p:sp>
        <p:nvSpPr>
          <p:cNvPr id="6" name="Inhaltsplatzhalter 6"/>
          <p:cNvSpPr>
            <a:spLocks noGrp="1"/>
          </p:cNvSpPr>
          <p:nvPr>
            <p:ph sz="quarter" idx="15" hasCustomPrompt="1"/>
          </p:nvPr>
        </p:nvSpPr>
        <p:spPr bwMode="auto">
          <a:xfrm>
            <a:off x="7572374" y="1276350"/>
            <a:ext cx="1283625" cy="307753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>
              <a:defRPr/>
            </a:pPr>
            <a:r>
              <a:rPr lang="ru-RU"/>
              <a:t>Edit flowing text level 12pt</a:t>
            </a:r>
            <a:endParaRPr/>
          </a:p>
          <a:p>
            <a:pPr lvl="1">
              <a:defRPr/>
            </a:pPr>
            <a:r>
              <a:rPr lang="ru-RU"/>
              <a:t>Second level</a:t>
            </a:r>
            <a:endParaRPr/>
          </a:p>
          <a:p>
            <a:pPr lvl="2">
              <a:defRPr/>
            </a:pPr>
            <a:r>
              <a:rPr lang="ru-RU"/>
              <a:t>Third level</a:t>
            </a:r>
            <a:endParaRPr/>
          </a:p>
          <a:p>
            <a:pPr lvl="3">
              <a:defRPr/>
            </a:pPr>
            <a:r>
              <a:rPr lang="ru-RU"/>
              <a:t>Fourth level</a:t>
            </a:r>
            <a:endParaRPr/>
          </a:p>
          <a:p>
            <a:pPr lvl="4">
              <a:defRPr/>
            </a:pPr>
            <a:r>
              <a:rPr lang="ru-RU"/>
              <a:t>Fifth level</a:t>
            </a:r>
            <a:endParaRPr lang="ru-RU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4" hasCustomPrompt="1"/>
          </p:nvPr>
        </p:nvSpPr>
        <p:spPr bwMode="auto">
          <a:xfrm>
            <a:off x="291599" y="1276350"/>
            <a:ext cx="7109325" cy="3077538"/>
          </a:xfrm>
        </p:spPr>
        <p:txBody>
          <a:bodyPr anchor="ctr"/>
          <a:lstStyle>
            <a:lvl1pPr algn="ctr">
              <a:defRPr/>
            </a:lvl1pPr>
          </a:lstStyle>
          <a:p>
            <a:pPr>
              <a:defRPr/>
            </a:pPr>
            <a:r>
              <a:rPr lang="ru-RU"/>
              <a:t>Picture</a:t>
            </a:r>
            <a:endParaRPr lang="ru-RU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Content - Picture above, text underneath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291600" y="252000"/>
            <a:ext cx="8564400" cy="590963"/>
          </a:xfrm>
        </p:spPr>
        <p:txBody>
          <a:bodyPr/>
          <a:lstStyle/>
          <a:p>
            <a:pPr>
              <a:defRPr/>
            </a:pPr>
            <a:r>
              <a:rPr lang="ru-RU"/>
              <a:t>Headline example (20pt), Lorem ipsum dolor sit amet, consectetur adipiscing elit ed ut perspiciatis unde omnis iste natus error</a:t>
            </a:r>
            <a:endParaRPr lang="ru-RU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E757A421-7007-4223-99AE-9E4403F2D588}" type="datetime1">
              <a:rPr lang="ru-RU"/>
              <a:t/>
            </a:fld>
            <a:endParaRPr lang="ru-RU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MegaFon | Presentation title and subtitle</a:t>
            </a:r>
            <a:endParaRPr lang="ru-RU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0F83C6A9-09AF-44EB-BB3F-3943791E8916}" type="slidenum">
              <a:rPr lang="ru-RU"/>
              <a:t/>
            </a:fld>
            <a:endParaRPr lang="ru-RU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auto">
          <a:xfrm>
            <a:off x="292101" y="3224748"/>
            <a:ext cx="2732088" cy="1129140"/>
          </a:xfrm>
        </p:spPr>
        <p:txBody>
          <a:bodyPr/>
          <a:lstStyle/>
          <a:p>
            <a:pPr lvl="0">
              <a:defRPr/>
            </a:pPr>
            <a:r>
              <a:rPr lang="ru-RU"/>
              <a:t>Edit flowing text level 12pt to (16pt)</a:t>
            </a:r>
            <a:endParaRPr/>
          </a:p>
          <a:p>
            <a:pPr lvl="1">
              <a:defRPr/>
            </a:pPr>
            <a:r>
              <a:rPr lang="ru-RU"/>
              <a:t>Second level</a:t>
            </a:r>
            <a:endParaRPr/>
          </a:p>
          <a:p>
            <a:pPr lvl="2">
              <a:defRPr/>
            </a:pPr>
            <a:r>
              <a:rPr lang="ru-RU"/>
              <a:t>Third level</a:t>
            </a:r>
            <a:endParaRPr/>
          </a:p>
        </p:txBody>
      </p:sp>
      <p:sp>
        <p:nvSpPr>
          <p:cNvPr id="8" name="Inhaltsplatzhalter 6"/>
          <p:cNvSpPr>
            <a:spLocks noGrp="1"/>
          </p:cNvSpPr>
          <p:nvPr>
            <p:ph sz="quarter" idx="14" hasCustomPrompt="1"/>
          </p:nvPr>
        </p:nvSpPr>
        <p:spPr bwMode="auto">
          <a:xfrm>
            <a:off x="3213101" y="3224748"/>
            <a:ext cx="2717800" cy="1129140"/>
          </a:xfrm>
        </p:spPr>
        <p:txBody>
          <a:bodyPr/>
          <a:lstStyle/>
          <a:p>
            <a:pPr lvl="0">
              <a:defRPr/>
            </a:pPr>
            <a:r>
              <a:rPr lang="ru-RU"/>
              <a:t>Edit flowing text level 12pt to (16pt)</a:t>
            </a:r>
            <a:endParaRPr/>
          </a:p>
          <a:p>
            <a:pPr lvl="1">
              <a:defRPr/>
            </a:pPr>
            <a:r>
              <a:rPr lang="ru-RU"/>
              <a:t>Second level</a:t>
            </a:r>
            <a:endParaRPr/>
          </a:p>
          <a:p>
            <a:pPr lvl="2">
              <a:defRPr/>
            </a:pPr>
            <a:r>
              <a:rPr lang="ru-RU"/>
              <a:t>Third level</a:t>
            </a:r>
            <a:endParaRPr/>
          </a:p>
        </p:txBody>
      </p:sp>
      <p:sp>
        <p:nvSpPr>
          <p:cNvPr id="9" name="Inhaltsplatzhalter 6"/>
          <p:cNvSpPr>
            <a:spLocks noGrp="1"/>
          </p:cNvSpPr>
          <p:nvPr>
            <p:ph sz="quarter" idx="15" hasCustomPrompt="1"/>
          </p:nvPr>
        </p:nvSpPr>
        <p:spPr bwMode="auto">
          <a:xfrm>
            <a:off x="6138200" y="3224748"/>
            <a:ext cx="2717800" cy="1129140"/>
          </a:xfrm>
        </p:spPr>
        <p:txBody>
          <a:bodyPr/>
          <a:lstStyle/>
          <a:p>
            <a:pPr lvl="0">
              <a:defRPr/>
            </a:pPr>
            <a:r>
              <a:rPr lang="ru-RU"/>
              <a:t>Edit flowing text level 12pt to (16pt)</a:t>
            </a:r>
            <a:endParaRPr/>
          </a:p>
          <a:p>
            <a:pPr lvl="1">
              <a:defRPr/>
            </a:pPr>
            <a:r>
              <a:rPr lang="ru-RU"/>
              <a:t>Second level</a:t>
            </a:r>
            <a:endParaRPr/>
          </a:p>
          <a:p>
            <a:pPr lvl="2">
              <a:defRPr/>
            </a:pPr>
            <a:r>
              <a:rPr lang="ru-RU"/>
              <a:t>Third level</a:t>
            </a:r>
            <a:endParaRPr/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6" hasCustomPrompt="1"/>
          </p:nvPr>
        </p:nvSpPr>
        <p:spPr bwMode="auto">
          <a:xfrm>
            <a:off x="6138000" y="1276350"/>
            <a:ext cx="2718000" cy="1829364"/>
          </a:xfrm>
        </p:spPr>
        <p:txBody>
          <a:bodyPr anchor="ctr"/>
          <a:lstStyle>
            <a:lvl1pPr algn="ctr">
              <a:defRPr/>
            </a:lvl1pPr>
          </a:lstStyle>
          <a:p>
            <a:pPr>
              <a:defRPr/>
            </a:pPr>
            <a:r>
              <a:rPr lang="ru-RU"/>
              <a:t>Picture</a:t>
            </a:r>
            <a:endParaRPr lang="ru-RU"/>
          </a:p>
        </p:txBody>
      </p:sp>
      <p:sp>
        <p:nvSpPr>
          <p:cNvPr id="11" name="Bildplatzhalter 7"/>
          <p:cNvSpPr>
            <a:spLocks noGrp="1"/>
          </p:cNvSpPr>
          <p:nvPr>
            <p:ph type="pic" sz="quarter" idx="17" hasCustomPrompt="1"/>
          </p:nvPr>
        </p:nvSpPr>
        <p:spPr bwMode="auto">
          <a:xfrm>
            <a:off x="3212901" y="1276350"/>
            <a:ext cx="2718000" cy="1829364"/>
          </a:xfrm>
        </p:spPr>
        <p:txBody>
          <a:bodyPr anchor="ctr"/>
          <a:lstStyle>
            <a:lvl1pPr algn="ctr">
              <a:defRPr/>
            </a:lvl1pPr>
          </a:lstStyle>
          <a:p>
            <a:pPr>
              <a:defRPr/>
            </a:pPr>
            <a:r>
              <a:rPr lang="ru-RU"/>
              <a:t>Picture</a:t>
            </a:r>
            <a:endParaRPr lang="ru-RU"/>
          </a:p>
        </p:txBody>
      </p:sp>
      <p:sp>
        <p:nvSpPr>
          <p:cNvPr id="12" name="Bildplatzhalter 7"/>
          <p:cNvSpPr>
            <a:spLocks noGrp="1"/>
          </p:cNvSpPr>
          <p:nvPr>
            <p:ph type="pic" sz="quarter" idx="18" hasCustomPrompt="1"/>
          </p:nvPr>
        </p:nvSpPr>
        <p:spPr bwMode="auto">
          <a:xfrm>
            <a:off x="291600" y="1276350"/>
            <a:ext cx="2732400" cy="1829364"/>
          </a:xfrm>
        </p:spPr>
        <p:txBody>
          <a:bodyPr anchor="ctr"/>
          <a:lstStyle>
            <a:lvl1pPr algn="ctr">
              <a:defRPr/>
            </a:lvl1pPr>
          </a:lstStyle>
          <a:p>
            <a:pPr>
              <a:defRPr/>
            </a:pPr>
            <a:r>
              <a:rPr lang="ru-RU"/>
              <a:t>Picture</a:t>
            </a:r>
            <a:endParaRPr lang="ru-RU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Content - Only headlin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291600" y="252000"/>
            <a:ext cx="8564400" cy="590963"/>
          </a:xfrm>
        </p:spPr>
        <p:txBody>
          <a:bodyPr/>
          <a:lstStyle/>
          <a:p>
            <a:pPr>
              <a:defRPr/>
            </a:pPr>
            <a:r>
              <a:rPr lang="ru-RU"/>
              <a:t>Headline example (20pt), </a:t>
            </a:r>
            <a:br>
              <a:rPr lang="ru-RU"/>
            </a:br>
            <a:r>
              <a:rPr lang="ru-RU"/>
              <a:t>in two lines. </a:t>
            </a:r>
            <a:endParaRPr lang="ru-RU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A16BBCC1-0ED7-47BB-B24F-172616971772}" type="datetime1">
              <a:rPr lang="ru-RU"/>
              <a:t/>
            </a:fld>
            <a:endParaRPr lang="ru-RU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MegaFon | Presentation title and subtitle</a:t>
            </a:r>
            <a:endParaRPr lang="ru-RU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0F83C6A9-09AF-44EB-BB3F-3943791E8916}" type="slidenum">
              <a:rPr lang="ru-RU"/>
              <a:t/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0" userDrawn="1">
  <p:cSld name="Title Imag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2" imgW="0" imgH="0" progId="TCLayout.ActiveDocument.1">
              <p:embed/>
              <p:pic>
                <p:nvPicPr>
                  <p:cNvPr id="17" name=""/>
                  <p:cNvPicPr/>
                  <p:nvPr/>
                </p:nvPicPr>
                <p:blipFill>
                  <a:blip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8" name="Bildplatzhalter 7"/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0" y="-1"/>
            <a:ext cx="9144000" cy="3409503"/>
          </a:xfrm>
        </p:spPr>
        <p:txBody>
          <a:bodyPr anchor="ctr"/>
          <a:lstStyle>
            <a:lvl1pPr algn="ctr">
              <a:defRPr/>
            </a:lvl1pPr>
          </a:lstStyle>
          <a:p>
            <a:pPr>
              <a:defRPr/>
            </a:pPr>
            <a:r>
              <a:rPr lang="ru-RU"/>
              <a:t>Picture</a:t>
            </a:r>
            <a:endParaRPr lang="ru-RU"/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auto">
          <a:xfrm>
            <a:off x="287337" y="3703851"/>
            <a:ext cx="5643563" cy="680547"/>
          </a:xfrm>
        </p:spPr>
        <p:txBody>
          <a:bodyPr/>
          <a:lstStyle>
            <a:lvl1pPr>
              <a:defRPr sz="2400" b="0">
                <a:latin typeface="Arial Black"/>
              </a:defRPr>
            </a:lvl1pPr>
          </a:lstStyle>
          <a:p>
            <a:pPr>
              <a:defRPr/>
            </a:pPr>
            <a:r>
              <a:rPr lang="ru-RU"/>
              <a:t>MegaFon Presentation title in</a:t>
            </a:r>
            <a:br>
              <a:rPr lang="ru-RU"/>
            </a:br>
            <a:r>
              <a:rPr lang="ru-RU"/>
              <a:t>two lines of copy text (24pt)</a:t>
            </a:r>
            <a:endParaRPr lang="ru-RU"/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292100" y="4594048"/>
            <a:ext cx="5640426" cy="192265"/>
          </a:xfrm>
        </p:spPr>
        <p:txBody>
          <a:bodyPr anchor="b"/>
          <a:lstStyle>
            <a:lvl1pPr marL="0" marR="0" indent="0" algn="l" defTabSz="68580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defRPr sz="1200">
                <a:latin typeface="+mn-lt"/>
              </a:defRPr>
            </a:lvl1pPr>
          </a:lstStyle>
          <a:p>
            <a:pPr marL="0" marR="0" lvl="0" indent="0" algn="l" defTabSz="68580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200" b="1" i="0" u="none" strike="noStrike" cap="none" spc="0">
                <a:ln>
                  <a:noFill/>
                </a:ln>
                <a:solidFill>
                  <a:srgbClr val="000000"/>
                </a:solidFill>
                <a:latin typeface="Arial"/>
                <a:ea typeface="+mn-ea"/>
                <a:cs typeface="+mn-cs"/>
              </a:rPr>
              <a:t>Presenter (12pt), </a:t>
            </a:r>
            <a:r>
              <a:rPr lang="ru-RU" sz="1200" b="0" i="0" u="none" strike="noStrike" cap="none" spc="0">
                <a:ln>
                  <a:noFill/>
                </a:ln>
                <a:solidFill>
                  <a:srgbClr val="000000"/>
                </a:solidFill>
                <a:latin typeface="Arial"/>
                <a:ea typeface="+mn-ea"/>
                <a:cs typeface="+mn-cs"/>
              </a:rPr>
              <a:t>City, Month 2018</a:t>
            </a:r>
            <a:endParaRPr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3"/>
          <a:stretch/>
        </p:blipFill>
        <p:spPr bwMode="auto">
          <a:xfrm>
            <a:off x="7004050" y="4535798"/>
            <a:ext cx="1854000" cy="32957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0" userDrawn="1">
  <p:cSld name="Let's talk - final char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292100" y="3895783"/>
            <a:ext cx="3794125" cy="245634"/>
          </a:xfrm>
        </p:spPr>
        <p:txBody>
          <a:bodyPr/>
          <a:lstStyle>
            <a:lvl1pPr>
              <a:spcBef>
                <a:spcPts val="0"/>
              </a:spcBef>
              <a:defRPr b="1"/>
            </a:lvl1pPr>
            <a:lvl5pPr marL="715962" indent="0">
              <a:buNone/>
              <a:defRPr/>
            </a:lvl5pPr>
          </a:lstStyle>
          <a:p>
            <a:pPr lvl="0">
              <a:defRPr/>
            </a:pPr>
            <a:r>
              <a:rPr lang="ru-RU"/>
              <a:t>Contact Name (16pt)</a:t>
            </a:r>
            <a:endParaRPr/>
          </a:p>
        </p:txBody>
      </p:sp>
      <p:sp>
        <p:nvSpPr>
          <p:cNvPr id="16" name="Textplatzhalter 14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292100" y="4181475"/>
            <a:ext cx="3794125" cy="223320"/>
          </a:xfrm>
        </p:spPr>
        <p:txBody>
          <a:bodyPr anchor="b"/>
          <a:lstStyle>
            <a:lvl1pPr>
              <a:spcBef>
                <a:spcPts val="0"/>
              </a:spcBef>
              <a:defRPr b="0"/>
            </a:lvl1pPr>
            <a:lvl5pPr marL="715962" indent="0">
              <a:buNone/>
              <a:defRPr/>
            </a:lvl5pPr>
          </a:lstStyle>
          <a:p>
            <a:pPr lvl="0">
              <a:defRPr/>
            </a:pPr>
            <a:r>
              <a:rPr lang="ru-RU"/>
              <a:t>Contact Title (16pt)</a:t>
            </a:r>
            <a:endParaRPr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5044" y="2213890"/>
            <a:ext cx="4399031" cy="444500"/>
          </a:xfrm>
        </p:spPr>
        <p:txBody>
          <a:bodyPr/>
          <a:lstStyle>
            <a:lvl1pPr>
              <a:defRPr sz="4000" b="0">
                <a:latin typeface="Arial Black"/>
              </a:defRPr>
            </a:lvl1pPr>
            <a:lvl2pPr>
              <a:defRPr sz="4000" b="0">
                <a:latin typeface="Arial Black"/>
              </a:defRPr>
            </a:lvl2pPr>
            <a:lvl3pPr>
              <a:defRPr sz="4000" b="0">
                <a:latin typeface="Arial Black"/>
              </a:defRPr>
            </a:lvl3pPr>
            <a:lvl4pPr>
              <a:defRPr sz="4000" b="0">
                <a:latin typeface="Arial Black"/>
              </a:defRPr>
            </a:lvl4pPr>
            <a:lvl5pPr>
              <a:defRPr sz="4000" b="0">
                <a:latin typeface="Arial Black"/>
              </a:defRPr>
            </a:lvl5pPr>
          </a:lstStyle>
          <a:p>
            <a:pPr lvl="0">
              <a:defRPr/>
            </a:pPr>
            <a:r>
              <a:rPr lang="ru-RU"/>
              <a:t>Let’s</a:t>
            </a:r>
            <a:r>
              <a:rPr lang="ru-RU"/>
              <a:t> Talk</a:t>
            </a:r>
            <a:endParaRPr lang="ru-RU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292100" y="4395086"/>
            <a:ext cx="3794125" cy="223200"/>
          </a:xfrm>
        </p:spPr>
        <p:txBody>
          <a:bodyPr anchor="b"/>
          <a:lstStyle>
            <a:lvl1pPr>
              <a:spcBef>
                <a:spcPts val="0"/>
              </a:spcBef>
              <a:defRPr b="0"/>
            </a:lvl1pPr>
            <a:lvl5pPr marL="715962" indent="0">
              <a:buNone/>
              <a:defRPr/>
            </a:lvl5pPr>
          </a:lstStyle>
          <a:p>
            <a:pPr lvl="0">
              <a:defRPr/>
            </a:pPr>
            <a:r>
              <a:rPr lang="ru-RU"/>
              <a:t>telephone</a:t>
            </a:r>
            <a:endParaRPr/>
          </a:p>
        </p:txBody>
      </p:sp>
      <p:sp>
        <p:nvSpPr>
          <p:cNvPr id="7" name="Textplatzhalter 14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292100" y="4608576"/>
            <a:ext cx="3794125" cy="223200"/>
          </a:xfrm>
        </p:spPr>
        <p:txBody>
          <a:bodyPr anchor="b"/>
          <a:lstStyle>
            <a:lvl1pPr>
              <a:spcBef>
                <a:spcPts val="0"/>
              </a:spcBef>
              <a:defRPr b="0"/>
            </a:lvl1pPr>
            <a:lvl5pPr marL="715962" indent="0">
              <a:buNone/>
              <a:defRPr/>
            </a:lvl5pPr>
          </a:lstStyle>
          <a:p>
            <a:pPr lvl="0">
              <a:defRPr/>
            </a:pPr>
            <a:r>
              <a:rPr lang="ru-RU"/>
              <a:t>e-mail</a:t>
            </a:r>
            <a:endParaRPr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7004050" y="4535798"/>
            <a:ext cx="1854000" cy="32957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3_Титульный слайд">
    <p:bg>
      <p:bgPr shadeToTitle="0">
        <a:solidFill>
          <a:schemeClr val="bg1"/>
        </a:solidFill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9144000" cy="514508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864">
              <a:defRPr/>
            </a:pPr>
            <a:endParaRPr lang="en-US" sz="1600">
              <a:solidFill>
                <a:prstClr val="white"/>
              </a:solidFill>
            </a:endParaRPr>
          </a:p>
        </p:txBody>
      </p:sp>
      <p:sp>
        <p:nvSpPr>
          <p:cNvPr id="16" name="Freeform 6"/>
          <p:cNvSpPr/>
          <p:nvPr userDrawn="1"/>
        </p:nvSpPr>
        <p:spPr bwMode="auto">
          <a:xfrm>
            <a:off x="0" y="1"/>
            <a:ext cx="8335678" cy="4520327"/>
          </a:xfrm>
          <a:custGeom>
            <a:avLst/>
            <a:gdLst>
              <a:gd name="T0" fmla="*/ 0 w 6236"/>
              <a:gd name="T1" fmla="*/ 4030 h 4217"/>
              <a:gd name="T2" fmla="*/ 121 w 6236"/>
              <a:gd name="T3" fmla="*/ 4062 h 4217"/>
              <a:gd name="T4" fmla="*/ 359 w 6236"/>
              <a:gd name="T5" fmla="*/ 4117 h 4217"/>
              <a:gd name="T6" fmla="*/ 601 w 6236"/>
              <a:gd name="T7" fmla="*/ 4160 h 4217"/>
              <a:gd name="T8" fmla="*/ 849 w 6236"/>
              <a:gd name="T9" fmla="*/ 4193 h 4217"/>
              <a:gd name="T10" fmla="*/ 1101 w 6236"/>
              <a:gd name="T11" fmla="*/ 4212 h 4217"/>
              <a:gd name="T12" fmla="*/ 1354 w 6236"/>
              <a:gd name="T13" fmla="*/ 4217 h 4217"/>
              <a:gd name="T14" fmla="*/ 1607 w 6236"/>
              <a:gd name="T15" fmla="*/ 4212 h 4217"/>
              <a:gd name="T16" fmla="*/ 1859 w 6236"/>
              <a:gd name="T17" fmla="*/ 4193 h 4217"/>
              <a:gd name="T18" fmla="*/ 2105 w 6236"/>
              <a:gd name="T19" fmla="*/ 4160 h 4217"/>
              <a:gd name="T20" fmla="*/ 2349 w 6236"/>
              <a:gd name="T21" fmla="*/ 4117 h 4217"/>
              <a:gd name="T22" fmla="*/ 2587 w 6236"/>
              <a:gd name="T23" fmla="*/ 4062 h 4217"/>
              <a:gd name="T24" fmla="*/ 2821 w 6236"/>
              <a:gd name="T25" fmla="*/ 3996 h 4217"/>
              <a:gd name="T26" fmla="*/ 3050 w 6236"/>
              <a:gd name="T27" fmla="*/ 3918 h 4217"/>
              <a:gd name="T28" fmla="*/ 3275 w 6236"/>
              <a:gd name="T29" fmla="*/ 3830 h 4217"/>
              <a:gd name="T30" fmla="*/ 3493 w 6236"/>
              <a:gd name="T31" fmla="*/ 3731 h 4217"/>
              <a:gd name="T32" fmla="*/ 3706 w 6236"/>
              <a:gd name="T33" fmla="*/ 3623 h 4217"/>
              <a:gd name="T34" fmla="*/ 3912 w 6236"/>
              <a:gd name="T35" fmla="*/ 3504 h 4217"/>
              <a:gd name="T36" fmla="*/ 4113 w 6236"/>
              <a:gd name="T37" fmla="*/ 3376 h 4217"/>
              <a:gd name="T38" fmla="*/ 4306 w 6236"/>
              <a:gd name="T39" fmla="*/ 3238 h 4217"/>
              <a:gd name="T40" fmla="*/ 4493 w 6236"/>
              <a:gd name="T41" fmla="*/ 3092 h 4217"/>
              <a:gd name="T42" fmla="*/ 4671 w 6236"/>
              <a:gd name="T43" fmla="*/ 2937 h 4217"/>
              <a:gd name="T44" fmla="*/ 4843 w 6236"/>
              <a:gd name="T45" fmla="*/ 2772 h 4217"/>
              <a:gd name="T46" fmla="*/ 5005 w 6236"/>
              <a:gd name="T47" fmla="*/ 2602 h 4217"/>
              <a:gd name="T48" fmla="*/ 5160 w 6236"/>
              <a:gd name="T49" fmla="*/ 2423 h 4217"/>
              <a:gd name="T50" fmla="*/ 5308 w 6236"/>
              <a:gd name="T51" fmla="*/ 2235 h 4217"/>
              <a:gd name="T52" fmla="*/ 5446 w 6236"/>
              <a:gd name="T53" fmla="*/ 2042 h 4217"/>
              <a:gd name="T54" fmla="*/ 5573 w 6236"/>
              <a:gd name="T55" fmla="*/ 1842 h 4217"/>
              <a:gd name="T56" fmla="*/ 5692 w 6236"/>
              <a:gd name="T57" fmla="*/ 1636 h 4217"/>
              <a:gd name="T58" fmla="*/ 5801 w 6236"/>
              <a:gd name="T59" fmla="*/ 1422 h 4217"/>
              <a:gd name="T60" fmla="*/ 5900 w 6236"/>
              <a:gd name="T61" fmla="*/ 1205 h 4217"/>
              <a:gd name="T62" fmla="*/ 5989 w 6236"/>
              <a:gd name="T63" fmla="*/ 980 h 4217"/>
              <a:gd name="T64" fmla="*/ 6066 w 6236"/>
              <a:gd name="T65" fmla="*/ 751 h 4217"/>
              <a:gd name="T66" fmla="*/ 6132 w 6236"/>
              <a:gd name="T67" fmla="*/ 516 h 4217"/>
              <a:gd name="T68" fmla="*/ 6187 w 6236"/>
              <a:gd name="T69" fmla="*/ 278 h 4217"/>
              <a:gd name="T70" fmla="*/ 6231 w 6236"/>
              <a:gd name="T71" fmla="*/ 34 h 4217"/>
              <a:gd name="T72" fmla="*/ 0 w 6236"/>
              <a:gd name="T73" fmla="*/ 0 h 42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6236" h="4217" fill="norm" stroke="1" extrusionOk="0">
                <a:moveTo>
                  <a:pt x="0" y="0"/>
                </a:moveTo>
                <a:lnTo>
                  <a:pt x="0" y="4030"/>
                </a:lnTo>
                <a:lnTo>
                  <a:pt x="4" y="4030"/>
                </a:lnTo>
                <a:lnTo>
                  <a:pt x="121" y="4062"/>
                </a:lnTo>
                <a:lnTo>
                  <a:pt x="240" y="4092"/>
                </a:lnTo>
                <a:lnTo>
                  <a:pt x="359" y="4117"/>
                </a:lnTo>
                <a:lnTo>
                  <a:pt x="480" y="4142"/>
                </a:lnTo>
                <a:lnTo>
                  <a:pt x="601" y="4160"/>
                </a:lnTo>
                <a:lnTo>
                  <a:pt x="726" y="4178"/>
                </a:lnTo>
                <a:lnTo>
                  <a:pt x="849" y="4193"/>
                </a:lnTo>
                <a:lnTo>
                  <a:pt x="974" y="4204"/>
                </a:lnTo>
                <a:lnTo>
                  <a:pt x="1101" y="4212"/>
                </a:lnTo>
                <a:lnTo>
                  <a:pt x="1227" y="4217"/>
                </a:lnTo>
                <a:lnTo>
                  <a:pt x="1354" y="4217"/>
                </a:lnTo>
                <a:lnTo>
                  <a:pt x="1481" y="4217"/>
                </a:lnTo>
                <a:lnTo>
                  <a:pt x="1607" y="4212"/>
                </a:lnTo>
                <a:lnTo>
                  <a:pt x="1734" y="4204"/>
                </a:lnTo>
                <a:lnTo>
                  <a:pt x="1859" y="4193"/>
                </a:lnTo>
                <a:lnTo>
                  <a:pt x="1982" y="4178"/>
                </a:lnTo>
                <a:lnTo>
                  <a:pt x="2105" y="4160"/>
                </a:lnTo>
                <a:lnTo>
                  <a:pt x="2227" y="4142"/>
                </a:lnTo>
                <a:lnTo>
                  <a:pt x="2349" y="4117"/>
                </a:lnTo>
                <a:lnTo>
                  <a:pt x="2468" y="4092"/>
                </a:lnTo>
                <a:lnTo>
                  <a:pt x="2587" y="4062"/>
                </a:lnTo>
                <a:lnTo>
                  <a:pt x="2704" y="4030"/>
                </a:lnTo>
                <a:lnTo>
                  <a:pt x="2821" y="3996"/>
                </a:lnTo>
                <a:lnTo>
                  <a:pt x="2937" y="3958"/>
                </a:lnTo>
                <a:lnTo>
                  <a:pt x="3050" y="3918"/>
                </a:lnTo>
                <a:lnTo>
                  <a:pt x="3163" y="3875"/>
                </a:lnTo>
                <a:lnTo>
                  <a:pt x="3275" y="3830"/>
                </a:lnTo>
                <a:lnTo>
                  <a:pt x="3385" y="3782"/>
                </a:lnTo>
                <a:lnTo>
                  <a:pt x="3493" y="3731"/>
                </a:lnTo>
                <a:lnTo>
                  <a:pt x="3600" y="3678"/>
                </a:lnTo>
                <a:lnTo>
                  <a:pt x="3706" y="3623"/>
                </a:lnTo>
                <a:lnTo>
                  <a:pt x="3810" y="3565"/>
                </a:lnTo>
                <a:lnTo>
                  <a:pt x="3912" y="3504"/>
                </a:lnTo>
                <a:lnTo>
                  <a:pt x="4013" y="3440"/>
                </a:lnTo>
                <a:lnTo>
                  <a:pt x="4113" y="3376"/>
                </a:lnTo>
                <a:lnTo>
                  <a:pt x="4209" y="3308"/>
                </a:lnTo>
                <a:lnTo>
                  <a:pt x="4306" y="3238"/>
                </a:lnTo>
                <a:lnTo>
                  <a:pt x="4400" y="3166"/>
                </a:lnTo>
                <a:lnTo>
                  <a:pt x="4493" y="3092"/>
                </a:lnTo>
                <a:lnTo>
                  <a:pt x="4582" y="3014"/>
                </a:lnTo>
                <a:lnTo>
                  <a:pt x="4671" y="2937"/>
                </a:lnTo>
                <a:lnTo>
                  <a:pt x="4758" y="2856"/>
                </a:lnTo>
                <a:lnTo>
                  <a:pt x="4843" y="2772"/>
                </a:lnTo>
                <a:lnTo>
                  <a:pt x="4926" y="2687"/>
                </a:lnTo>
                <a:lnTo>
                  <a:pt x="5005" y="2602"/>
                </a:lnTo>
                <a:lnTo>
                  <a:pt x="5085" y="2513"/>
                </a:lnTo>
                <a:lnTo>
                  <a:pt x="5160" y="2423"/>
                </a:lnTo>
                <a:lnTo>
                  <a:pt x="5236" y="2330"/>
                </a:lnTo>
                <a:lnTo>
                  <a:pt x="5308" y="2235"/>
                </a:lnTo>
                <a:lnTo>
                  <a:pt x="5378" y="2141"/>
                </a:lnTo>
                <a:lnTo>
                  <a:pt x="5446" y="2042"/>
                </a:lnTo>
                <a:lnTo>
                  <a:pt x="5510" y="1944"/>
                </a:lnTo>
                <a:lnTo>
                  <a:pt x="5573" y="1842"/>
                </a:lnTo>
                <a:lnTo>
                  <a:pt x="5635" y="1740"/>
                </a:lnTo>
                <a:lnTo>
                  <a:pt x="5692" y="1636"/>
                </a:lnTo>
                <a:lnTo>
                  <a:pt x="5748" y="1530"/>
                </a:lnTo>
                <a:lnTo>
                  <a:pt x="5801" y="1422"/>
                </a:lnTo>
                <a:lnTo>
                  <a:pt x="5852" y="1314"/>
                </a:lnTo>
                <a:lnTo>
                  <a:pt x="5900" y="1205"/>
                </a:lnTo>
                <a:lnTo>
                  <a:pt x="5945" y="1093"/>
                </a:lnTo>
                <a:lnTo>
                  <a:pt x="5989" y="980"/>
                </a:lnTo>
                <a:lnTo>
                  <a:pt x="6028" y="866"/>
                </a:lnTo>
                <a:lnTo>
                  <a:pt x="6066" y="751"/>
                </a:lnTo>
                <a:lnTo>
                  <a:pt x="6100" y="634"/>
                </a:lnTo>
                <a:lnTo>
                  <a:pt x="6132" y="516"/>
                </a:lnTo>
                <a:lnTo>
                  <a:pt x="6161" y="397"/>
                </a:lnTo>
                <a:lnTo>
                  <a:pt x="6187" y="278"/>
                </a:lnTo>
                <a:lnTo>
                  <a:pt x="6210" y="157"/>
                </a:lnTo>
                <a:lnTo>
                  <a:pt x="6231" y="34"/>
                </a:lnTo>
                <a:lnTo>
                  <a:pt x="6236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601" tIns="34301" rIns="68601" bIns="34301" numCol="1" anchor="t" anchorCtr="0" compatLnSpc="1">
            <a:prstTxWarp prst="textNoShape"/>
          </a:bodyPr>
          <a:lstStyle/>
          <a:p>
            <a:pPr defTabSz="804864">
              <a:defRPr/>
            </a:pPr>
            <a:endParaRPr lang="ru-RU" sz="1600">
              <a:solidFill>
                <a:prstClr val="black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 bwMode="auto">
          <a:xfrm>
            <a:off x="477395" y="476731"/>
            <a:ext cx="5513833" cy="1773388"/>
          </a:xfrm>
        </p:spPr>
        <p:txBody>
          <a:bodyPr/>
          <a:lstStyle>
            <a:lvl1pPr>
              <a:defRPr sz="3150" b="1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 bwMode="auto">
          <a:xfrm>
            <a:off x="477393" y="2654865"/>
            <a:ext cx="4828032" cy="528229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2"/>
                </a:solidFill>
              </a:defRPr>
            </a:lvl1pPr>
            <a:lvl2pPr marL="4024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048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72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9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12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145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170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19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>
              <a:defRPr/>
            </a:pPr>
            <a:r>
              <a:rPr lang="ru-RU"/>
              <a:t>Образец подзаголовка</a:t>
            </a:r>
            <a:endParaRPr lang="ru-RU"/>
          </a:p>
        </p:txBody>
      </p:sp>
      <p:grpSp>
        <p:nvGrpSpPr>
          <p:cNvPr id="31" name="Group 30"/>
          <p:cNvGrpSpPr>
            <a:grpSpLocks noChangeAspect="1"/>
          </p:cNvGrpSpPr>
          <p:nvPr userDrawn="1"/>
        </p:nvGrpSpPr>
        <p:grpSpPr bwMode="auto">
          <a:xfrm>
            <a:off x="6433175" y="4668136"/>
            <a:ext cx="2152358" cy="232428"/>
            <a:chOff x="934710" y="2708155"/>
            <a:chExt cx="10308163" cy="1369608"/>
          </a:xfrm>
          <a:solidFill>
            <a:srgbClr val="FFFFFF"/>
          </a:solidFill>
        </p:grpSpPr>
        <p:sp>
          <p:nvSpPr>
            <p:cNvPr id="32" name="Freeform 6"/>
            <p:cNvSpPr/>
            <p:nvPr/>
          </p:nvSpPr>
          <p:spPr bwMode="auto">
            <a:xfrm>
              <a:off x="10046261" y="2909992"/>
              <a:ext cx="1196612" cy="1153354"/>
            </a:xfrm>
            <a:custGeom>
              <a:avLst/>
              <a:gdLst>
                <a:gd name="T0" fmla="*/ 309 w 412"/>
                <a:gd name="T1" fmla="*/ 0 h 400"/>
                <a:gd name="T2" fmla="*/ 309 w 412"/>
                <a:gd name="T3" fmla="*/ 151 h 400"/>
                <a:gd name="T4" fmla="*/ 103 w 412"/>
                <a:gd name="T5" fmla="*/ 151 h 400"/>
                <a:gd name="T6" fmla="*/ 103 w 412"/>
                <a:gd name="T7" fmla="*/ 0 h 400"/>
                <a:gd name="T8" fmla="*/ 0 w 412"/>
                <a:gd name="T9" fmla="*/ 0 h 400"/>
                <a:gd name="T10" fmla="*/ 0 w 412"/>
                <a:gd name="T11" fmla="*/ 400 h 400"/>
                <a:gd name="T12" fmla="*/ 103 w 412"/>
                <a:gd name="T13" fmla="*/ 400 h 400"/>
                <a:gd name="T14" fmla="*/ 103 w 412"/>
                <a:gd name="T15" fmla="*/ 238 h 400"/>
                <a:gd name="T16" fmla="*/ 309 w 412"/>
                <a:gd name="T17" fmla="*/ 238 h 400"/>
                <a:gd name="T18" fmla="*/ 309 w 412"/>
                <a:gd name="T19" fmla="*/ 400 h 400"/>
                <a:gd name="T20" fmla="*/ 412 w 412"/>
                <a:gd name="T21" fmla="*/ 400 h 400"/>
                <a:gd name="T22" fmla="*/ 412 w 412"/>
                <a:gd name="T23" fmla="*/ 0 h 400"/>
                <a:gd name="T24" fmla="*/ 309 w 412"/>
                <a:gd name="T25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2" h="400" fill="norm" stroke="1" extrusionOk="0">
                  <a:moveTo>
                    <a:pt x="309" y="0"/>
                  </a:moveTo>
                  <a:lnTo>
                    <a:pt x="309" y="151"/>
                  </a:lnTo>
                  <a:lnTo>
                    <a:pt x="103" y="151"/>
                  </a:lnTo>
                  <a:lnTo>
                    <a:pt x="103" y="0"/>
                  </a:lnTo>
                  <a:lnTo>
                    <a:pt x="0" y="0"/>
                  </a:lnTo>
                  <a:lnTo>
                    <a:pt x="0" y="400"/>
                  </a:lnTo>
                  <a:lnTo>
                    <a:pt x="103" y="400"/>
                  </a:lnTo>
                  <a:lnTo>
                    <a:pt x="103" y="238"/>
                  </a:lnTo>
                  <a:lnTo>
                    <a:pt x="309" y="238"/>
                  </a:lnTo>
                  <a:lnTo>
                    <a:pt x="309" y="400"/>
                  </a:lnTo>
                  <a:lnTo>
                    <a:pt x="412" y="400"/>
                  </a:lnTo>
                  <a:lnTo>
                    <a:pt x="412" y="0"/>
                  </a:lnTo>
                  <a:lnTo>
                    <a:pt x="3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 defTabSz="804864">
                <a:defRPr/>
              </a:pPr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33" name="Freeform 7"/>
            <p:cNvSpPr>
              <a:spLocks noEditPoints="1"/>
            </p:cNvSpPr>
            <p:nvPr/>
          </p:nvSpPr>
          <p:spPr bwMode="auto">
            <a:xfrm>
              <a:off x="5086809" y="2895575"/>
              <a:ext cx="1441701" cy="1167771"/>
            </a:xfrm>
            <a:custGeom>
              <a:avLst/>
              <a:gdLst>
                <a:gd name="T0" fmla="*/ 112 w 500"/>
                <a:gd name="T1" fmla="*/ 398 h 409"/>
                <a:gd name="T2" fmla="*/ 121 w 500"/>
                <a:gd name="T3" fmla="*/ 377 h 409"/>
                <a:gd name="T4" fmla="*/ 131 w 500"/>
                <a:gd name="T5" fmla="*/ 356 h 409"/>
                <a:gd name="T6" fmla="*/ 139 w 500"/>
                <a:gd name="T7" fmla="*/ 335 h 409"/>
                <a:gd name="T8" fmla="*/ 355 w 500"/>
                <a:gd name="T9" fmla="*/ 324 h 409"/>
                <a:gd name="T10" fmla="*/ 364 w 500"/>
                <a:gd name="T11" fmla="*/ 346 h 409"/>
                <a:gd name="T12" fmla="*/ 374 w 500"/>
                <a:gd name="T13" fmla="*/ 367 h 409"/>
                <a:gd name="T14" fmla="*/ 383 w 500"/>
                <a:gd name="T15" fmla="*/ 387 h 409"/>
                <a:gd name="T16" fmla="*/ 391 w 500"/>
                <a:gd name="T17" fmla="*/ 409 h 409"/>
                <a:gd name="T18" fmla="*/ 480 w 500"/>
                <a:gd name="T19" fmla="*/ 365 h 409"/>
                <a:gd name="T20" fmla="*/ 437 w 500"/>
                <a:gd name="T21" fmla="*/ 276 h 409"/>
                <a:gd name="T22" fmla="*/ 396 w 500"/>
                <a:gd name="T23" fmla="*/ 186 h 409"/>
                <a:gd name="T24" fmla="*/ 354 w 500"/>
                <a:gd name="T25" fmla="*/ 98 h 409"/>
                <a:gd name="T26" fmla="*/ 330 w 500"/>
                <a:gd name="T27" fmla="*/ 48 h 409"/>
                <a:gd name="T28" fmla="*/ 323 w 500"/>
                <a:gd name="T29" fmla="*/ 35 h 409"/>
                <a:gd name="T30" fmla="*/ 313 w 500"/>
                <a:gd name="T31" fmla="*/ 25 h 409"/>
                <a:gd name="T32" fmla="*/ 303 w 500"/>
                <a:gd name="T33" fmla="*/ 17 h 409"/>
                <a:gd name="T34" fmla="*/ 292 w 500"/>
                <a:gd name="T35" fmla="*/ 10 h 409"/>
                <a:gd name="T36" fmla="*/ 280 w 500"/>
                <a:gd name="T37" fmla="*/ 5 h 409"/>
                <a:gd name="T38" fmla="*/ 262 w 500"/>
                <a:gd name="T39" fmla="*/ 1 h 409"/>
                <a:gd name="T40" fmla="*/ 250 w 500"/>
                <a:gd name="T41" fmla="*/ 0 h 409"/>
                <a:gd name="T42" fmla="*/ 226 w 500"/>
                <a:gd name="T43" fmla="*/ 3 h 409"/>
                <a:gd name="T44" fmla="*/ 214 w 500"/>
                <a:gd name="T45" fmla="*/ 7 h 409"/>
                <a:gd name="T46" fmla="*/ 202 w 500"/>
                <a:gd name="T47" fmla="*/ 13 h 409"/>
                <a:gd name="T48" fmla="*/ 192 w 500"/>
                <a:gd name="T49" fmla="*/ 21 h 409"/>
                <a:gd name="T50" fmla="*/ 182 w 500"/>
                <a:gd name="T51" fmla="*/ 31 h 409"/>
                <a:gd name="T52" fmla="*/ 173 w 500"/>
                <a:gd name="T53" fmla="*/ 41 h 409"/>
                <a:gd name="T54" fmla="*/ 166 w 500"/>
                <a:gd name="T55" fmla="*/ 54 h 409"/>
                <a:gd name="T56" fmla="*/ 124 w 500"/>
                <a:gd name="T57" fmla="*/ 143 h 409"/>
                <a:gd name="T58" fmla="*/ 83 w 500"/>
                <a:gd name="T59" fmla="*/ 231 h 409"/>
                <a:gd name="T60" fmla="*/ 41 w 500"/>
                <a:gd name="T61" fmla="*/ 320 h 409"/>
                <a:gd name="T62" fmla="*/ 0 w 500"/>
                <a:gd name="T63" fmla="*/ 409 h 409"/>
                <a:gd name="T64" fmla="*/ 179 w 500"/>
                <a:gd name="T65" fmla="*/ 245 h 409"/>
                <a:gd name="T66" fmla="*/ 194 w 500"/>
                <a:gd name="T67" fmla="*/ 208 h 409"/>
                <a:gd name="T68" fmla="*/ 210 w 500"/>
                <a:gd name="T69" fmla="*/ 172 h 409"/>
                <a:gd name="T70" fmla="*/ 226 w 500"/>
                <a:gd name="T71" fmla="*/ 136 h 409"/>
                <a:gd name="T72" fmla="*/ 242 w 500"/>
                <a:gd name="T73" fmla="*/ 99 h 409"/>
                <a:gd name="T74" fmla="*/ 243 w 500"/>
                <a:gd name="T75" fmla="*/ 97 h 409"/>
                <a:gd name="T76" fmla="*/ 245 w 500"/>
                <a:gd name="T77" fmla="*/ 95 h 409"/>
                <a:gd name="T78" fmla="*/ 247 w 500"/>
                <a:gd name="T79" fmla="*/ 94 h 409"/>
                <a:gd name="T80" fmla="*/ 250 w 500"/>
                <a:gd name="T81" fmla="*/ 94 h 409"/>
                <a:gd name="T82" fmla="*/ 251 w 500"/>
                <a:gd name="T83" fmla="*/ 94 h 409"/>
                <a:gd name="T84" fmla="*/ 253 w 500"/>
                <a:gd name="T85" fmla="*/ 94 h 409"/>
                <a:gd name="T86" fmla="*/ 255 w 500"/>
                <a:gd name="T87" fmla="*/ 96 h 409"/>
                <a:gd name="T88" fmla="*/ 257 w 500"/>
                <a:gd name="T89" fmla="*/ 98 h 409"/>
                <a:gd name="T90" fmla="*/ 266 w 500"/>
                <a:gd name="T91" fmla="*/ 117 h 409"/>
                <a:gd name="T92" fmla="*/ 281 w 500"/>
                <a:gd name="T93" fmla="*/ 154 h 409"/>
                <a:gd name="T94" fmla="*/ 298 w 500"/>
                <a:gd name="T95" fmla="*/ 190 h 409"/>
                <a:gd name="T96" fmla="*/ 313 w 500"/>
                <a:gd name="T97" fmla="*/ 227 h 409"/>
                <a:gd name="T98" fmla="*/ 179 w 500"/>
                <a:gd name="T99" fmla="*/ 24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00" h="409" fill="norm" stroke="1" extrusionOk="0">
                  <a:moveTo>
                    <a:pt x="108" y="409"/>
                  </a:moveTo>
                  <a:lnTo>
                    <a:pt x="112" y="398"/>
                  </a:lnTo>
                  <a:lnTo>
                    <a:pt x="116" y="387"/>
                  </a:lnTo>
                  <a:lnTo>
                    <a:pt x="121" y="377"/>
                  </a:lnTo>
                  <a:lnTo>
                    <a:pt x="126" y="367"/>
                  </a:lnTo>
                  <a:lnTo>
                    <a:pt x="131" y="356"/>
                  </a:lnTo>
                  <a:lnTo>
                    <a:pt x="135" y="346"/>
                  </a:lnTo>
                  <a:lnTo>
                    <a:pt x="139" y="335"/>
                  </a:lnTo>
                  <a:lnTo>
                    <a:pt x="144" y="324"/>
                  </a:lnTo>
                  <a:lnTo>
                    <a:pt x="355" y="324"/>
                  </a:lnTo>
                  <a:lnTo>
                    <a:pt x="360" y="335"/>
                  </a:lnTo>
                  <a:lnTo>
                    <a:pt x="364" y="346"/>
                  </a:lnTo>
                  <a:lnTo>
                    <a:pt x="368" y="356"/>
                  </a:lnTo>
                  <a:lnTo>
                    <a:pt x="374" y="367"/>
                  </a:lnTo>
                  <a:lnTo>
                    <a:pt x="378" y="377"/>
                  </a:lnTo>
                  <a:lnTo>
                    <a:pt x="383" y="387"/>
                  </a:lnTo>
                  <a:lnTo>
                    <a:pt x="387" y="398"/>
                  </a:lnTo>
                  <a:lnTo>
                    <a:pt x="391" y="409"/>
                  </a:lnTo>
                  <a:lnTo>
                    <a:pt x="500" y="409"/>
                  </a:lnTo>
                  <a:lnTo>
                    <a:pt x="480" y="365"/>
                  </a:lnTo>
                  <a:lnTo>
                    <a:pt x="458" y="320"/>
                  </a:lnTo>
                  <a:lnTo>
                    <a:pt x="437" y="276"/>
                  </a:lnTo>
                  <a:lnTo>
                    <a:pt x="416" y="231"/>
                  </a:lnTo>
                  <a:lnTo>
                    <a:pt x="396" y="186"/>
                  </a:lnTo>
                  <a:lnTo>
                    <a:pt x="375" y="143"/>
                  </a:lnTo>
                  <a:lnTo>
                    <a:pt x="354" y="98"/>
                  </a:lnTo>
                  <a:lnTo>
                    <a:pt x="334" y="54"/>
                  </a:lnTo>
                  <a:lnTo>
                    <a:pt x="330" y="48"/>
                  </a:lnTo>
                  <a:lnTo>
                    <a:pt x="326" y="41"/>
                  </a:lnTo>
                  <a:lnTo>
                    <a:pt x="323" y="35"/>
                  </a:lnTo>
                  <a:lnTo>
                    <a:pt x="318" y="31"/>
                  </a:lnTo>
                  <a:lnTo>
                    <a:pt x="313" y="25"/>
                  </a:lnTo>
                  <a:lnTo>
                    <a:pt x="308" y="21"/>
                  </a:lnTo>
                  <a:lnTo>
                    <a:pt x="303" y="17"/>
                  </a:lnTo>
                  <a:lnTo>
                    <a:pt x="298" y="13"/>
                  </a:lnTo>
                  <a:lnTo>
                    <a:pt x="292" y="10"/>
                  </a:lnTo>
                  <a:lnTo>
                    <a:pt x="286" y="7"/>
                  </a:lnTo>
                  <a:lnTo>
                    <a:pt x="280" y="5"/>
                  </a:lnTo>
                  <a:lnTo>
                    <a:pt x="275" y="3"/>
                  </a:lnTo>
                  <a:lnTo>
                    <a:pt x="262" y="1"/>
                  </a:lnTo>
                  <a:lnTo>
                    <a:pt x="250" y="0"/>
                  </a:lnTo>
                  <a:lnTo>
                    <a:pt x="250" y="0"/>
                  </a:lnTo>
                  <a:lnTo>
                    <a:pt x="238" y="1"/>
                  </a:lnTo>
                  <a:lnTo>
                    <a:pt x="226" y="3"/>
                  </a:lnTo>
                  <a:lnTo>
                    <a:pt x="219" y="5"/>
                  </a:lnTo>
                  <a:lnTo>
                    <a:pt x="214" y="7"/>
                  </a:lnTo>
                  <a:lnTo>
                    <a:pt x="207" y="10"/>
                  </a:lnTo>
                  <a:lnTo>
                    <a:pt x="202" y="13"/>
                  </a:lnTo>
                  <a:lnTo>
                    <a:pt x="196" y="17"/>
                  </a:lnTo>
                  <a:lnTo>
                    <a:pt x="192" y="21"/>
                  </a:lnTo>
                  <a:lnTo>
                    <a:pt x="186" y="25"/>
                  </a:lnTo>
                  <a:lnTo>
                    <a:pt x="182" y="31"/>
                  </a:lnTo>
                  <a:lnTo>
                    <a:pt x="178" y="35"/>
                  </a:lnTo>
                  <a:lnTo>
                    <a:pt x="173" y="41"/>
                  </a:lnTo>
                  <a:lnTo>
                    <a:pt x="169" y="48"/>
                  </a:lnTo>
                  <a:lnTo>
                    <a:pt x="166" y="54"/>
                  </a:lnTo>
                  <a:lnTo>
                    <a:pt x="145" y="98"/>
                  </a:lnTo>
                  <a:lnTo>
                    <a:pt x="124" y="143"/>
                  </a:lnTo>
                  <a:lnTo>
                    <a:pt x="103" y="186"/>
                  </a:lnTo>
                  <a:lnTo>
                    <a:pt x="83" y="231"/>
                  </a:lnTo>
                  <a:lnTo>
                    <a:pt x="62" y="276"/>
                  </a:lnTo>
                  <a:lnTo>
                    <a:pt x="41" y="320"/>
                  </a:lnTo>
                  <a:lnTo>
                    <a:pt x="20" y="365"/>
                  </a:lnTo>
                  <a:lnTo>
                    <a:pt x="0" y="409"/>
                  </a:lnTo>
                  <a:lnTo>
                    <a:pt x="108" y="409"/>
                  </a:lnTo>
                  <a:close/>
                  <a:moveTo>
                    <a:pt x="179" y="245"/>
                  </a:moveTo>
                  <a:lnTo>
                    <a:pt x="186" y="227"/>
                  </a:lnTo>
                  <a:lnTo>
                    <a:pt x="194" y="208"/>
                  </a:lnTo>
                  <a:lnTo>
                    <a:pt x="203" y="190"/>
                  </a:lnTo>
                  <a:lnTo>
                    <a:pt x="210" y="172"/>
                  </a:lnTo>
                  <a:lnTo>
                    <a:pt x="218" y="154"/>
                  </a:lnTo>
                  <a:lnTo>
                    <a:pt x="226" y="136"/>
                  </a:lnTo>
                  <a:lnTo>
                    <a:pt x="233" y="117"/>
                  </a:lnTo>
                  <a:lnTo>
                    <a:pt x="242" y="99"/>
                  </a:lnTo>
                  <a:lnTo>
                    <a:pt x="242" y="98"/>
                  </a:lnTo>
                  <a:lnTo>
                    <a:pt x="243" y="97"/>
                  </a:lnTo>
                  <a:lnTo>
                    <a:pt x="244" y="96"/>
                  </a:lnTo>
                  <a:lnTo>
                    <a:pt x="245" y="95"/>
                  </a:lnTo>
                  <a:lnTo>
                    <a:pt x="246" y="94"/>
                  </a:lnTo>
                  <a:lnTo>
                    <a:pt x="247" y="94"/>
                  </a:lnTo>
                  <a:lnTo>
                    <a:pt x="248" y="94"/>
                  </a:lnTo>
                  <a:lnTo>
                    <a:pt x="250" y="94"/>
                  </a:lnTo>
                  <a:lnTo>
                    <a:pt x="250" y="94"/>
                  </a:lnTo>
                  <a:lnTo>
                    <a:pt x="251" y="94"/>
                  </a:lnTo>
                  <a:lnTo>
                    <a:pt x="252" y="94"/>
                  </a:lnTo>
                  <a:lnTo>
                    <a:pt x="253" y="94"/>
                  </a:lnTo>
                  <a:lnTo>
                    <a:pt x="254" y="95"/>
                  </a:lnTo>
                  <a:lnTo>
                    <a:pt x="255" y="96"/>
                  </a:lnTo>
                  <a:lnTo>
                    <a:pt x="256" y="97"/>
                  </a:lnTo>
                  <a:lnTo>
                    <a:pt x="257" y="98"/>
                  </a:lnTo>
                  <a:lnTo>
                    <a:pt x="258" y="99"/>
                  </a:lnTo>
                  <a:lnTo>
                    <a:pt x="266" y="117"/>
                  </a:lnTo>
                  <a:lnTo>
                    <a:pt x="274" y="136"/>
                  </a:lnTo>
                  <a:lnTo>
                    <a:pt x="281" y="154"/>
                  </a:lnTo>
                  <a:lnTo>
                    <a:pt x="290" y="172"/>
                  </a:lnTo>
                  <a:lnTo>
                    <a:pt x="298" y="190"/>
                  </a:lnTo>
                  <a:lnTo>
                    <a:pt x="305" y="208"/>
                  </a:lnTo>
                  <a:lnTo>
                    <a:pt x="313" y="227"/>
                  </a:lnTo>
                  <a:lnTo>
                    <a:pt x="320" y="245"/>
                  </a:lnTo>
                  <a:lnTo>
                    <a:pt x="179" y="24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 defTabSz="804864">
                <a:defRPr/>
              </a:pPr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34" name="Freeform 8"/>
            <p:cNvSpPr/>
            <p:nvPr/>
          </p:nvSpPr>
          <p:spPr bwMode="auto">
            <a:xfrm>
              <a:off x="934710" y="2708155"/>
              <a:ext cx="1874211" cy="1369608"/>
            </a:xfrm>
            <a:custGeom>
              <a:avLst/>
              <a:gdLst>
                <a:gd name="T0" fmla="*/ 541 w 649"/>
                <a:gd name="T1" fmla="*/ 1 h 476"/>
                <a:gd name="T2" fmla="*/ 518 w 649"/>
                <a:gd name="T3" fmla="*/ 7 h 476"/>
                <a:gd name="T4" fmla="*/ 498 w 649"/>
                <a:gd name="T5" fmla="*/ 19 h 476"/>
                <a:gd name="T6" fmla="*/ 481 w 649"/>
                <a:gd name="T7" fmla="*/ 36 h 476"/>
                <a:gd name="T8" fmla="*/ 467 w 649"/>
                <a:gd name="T9" fmla="*/ 57 h 476"/>
                <a:gd name="T10" fmla="*/ 424 w 649"/>
                <a:gd name="T11" fmla="*/ 150 h 476"/>
                <a:gd name="T12" fmla="*/ 374 w 649"/>
                <a:gd name="T13" fmla="*/ 263 h 476"/>
                <a:gd name="T14" fmla="*/ 325 w 649"/>
                <a:gd name="T15" fmla="*/ 375 h 476"/>
                <a:gd name="T16" fmla="*/ 275 w 649"/>
                <a:gd name="T17" fmla="*/ 263 h 476"/>
                <a:gd name="T18" fmla="*/ 225 w 649"/>
                <a:gd name="T19" fmla="*/ 150 h 476"/>
                <a:gd name="T20" fmla="*/ 183 w 649"/>
                <a:gd name="T21" fmla="*/ 57 h 476"/>
                <a:gd name="T22" fmla="*/ 168 w 649"/>
                <a:gd name="T23" fmla="*/ 36 h 476"/>
                <a:gd name="T24" fmla="*/ 150 w 649"/>
                <a:gd name="T25" fmla="*/ 19 h 476"/>
                <a:gd name="T26" fmla="*/ 131 w 649"/>
                <a:gd name="T27" fmla="*/ 7 h 476"/>
                <a:gd name="T28" fmla="*/ 108 w 649"/>
                <a:gd name="T29" fmla="*/ 1 h 476"/>
                <a:gd name="T30" fmla="*/ 83 w 649"/>
                <a:gd name="T31" fmla="*/ 0 h 476"/>
                <a:gd name="T32" fmla="*/ 58 w 649"/>
                <a:gd name="T33" fmla="*/ 6 h 476"/>
                <a:gd name="T34" fmla="*/ 35 w 649"/>
                <a:gd name="T35" fmla="*/ 19 h 476"/>
                <a:gd name="T36" fmla="*/ 17 w 649"/>
                <a:gd name="T37" fmla="*/ 38 h 476"/>
                <a:gd name="T38" fmla="*/ 0 w 649"/>
                <a:gd name="T39" fmla="*/ 100 h 476"/>
                <a:gd name="T40" fmla="*/ 101 w 649"/>
                <a:gd name="T41" fmla="*/ 110 h 476"/>
                <a:gd name="T42" fmla="*/ 152 w 649"/>
                <a:gd name="T43" fmla="*/ 221 h 476"/>
                <a:gd name="T44" fmla="*/ 202 w 649"/>
                <a:gd name="T45" fmla="*/ 334 h 476"/>
                <a:gd name="T46" fmla="*/ 239 w 649"/>
                <a:gd name="T47" fmla="*/ 415 h 476"/>
                <a:gd name="T48" fmla="*/ 251 w 649"/>
                <a:gd name="T49" fmla="*/ 436 h 476"/>
                <a:gd name="T50" fmla="*/ 266 w 649"/>
                <a:gd name="T51" fmla="*/ 453 h 476"/>
                <a:gd name="T52" fmla="*/ 282 w 649"/>
                <a:gd name="T53" fmla="*/ 465 h 476"/>
                <a:gd name="T54" fmla="*/ 302 w 649"/>
                <a:gd name="T55" fmla="*/ 473 h 476"/>
                <a:gd name="T56" fmla="*/ 325 w 649"/>
                <a:gd name="T57" fmla="*/ 476 h 476"/>
                <a:gd name="T58" fmla="*/ 340 w 649"/>
                <a:gd name="T59" fmla="*/ 475 h 476"/>
                <a:gd name="T60" fmla="*/ 360 w 649"/>
                <a:gd name="T61" fmla="*/ 469 h 476"/>
                <a:gd name="T62" fmla="*/ 378 w 649"/>
                <a:gd name="T63" fmla="*/ 458 h 476"/>
                <a:gd name="T64" fmla="*/ 394 w 649"/>
                <a:gd name="T65" fmla="*/ 442 h 476"/>
                <a:gd name="T66" fmla="*/ 406 w 649"/>
                <a:gd name="T67" fmla="*/ 423 h 476"/>
                <a:gd name="T68" fmla="*/ 430 w 649"/>
                <a:gd name="T69" fmla="*/ 371 h 476"/>
                <a:gd name="T70" fmla="*/ 480 w 649"/>
                <a:gd name="T71" fmla="*/ 259 h 476"/>
                <a:gd name="T72" fmla="*/ 530 w 649"/>
                <a:gd name="T73" fmla="*/ 147 h 476"/>
                <a:gd name="T74" fmla="*/ 649 w 649"/>
                <a:gd name="T75" fmla="*/ 472 h 476"/>
                <a:gd name="T76" fmla="*/ 641 w 649"/>
                <a:gd name="T77" fmla="*/ 55 h 476"/>
                <a:gd name="T78" fmla="*/ 621 w 649"/>
                <a:gd name="T79" fmla="*/ 24 h 476"/>
                <a:gd name="T80" fmla="*/ 599 w 649"/>
                <a:gd name="T81" fmla="*/ 9 h 476"/>
                <a:gd name="T82" fmla="*/ 575 w 649"/>
                <a:gd name="T83" fmla="*/ 1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49" h="476" fill="norm" stroke="1" extrusionOk="0">
                  <a:moveTo>
                    <a:pt x="558" y="0"/>
                  </a:moveTo>
                  <a:lnTo>
                    <a:pt x="550" y="0"/>
                  </a:lnTo>
                  <a:lnTo>
                    <a:pt x="541" y="1"/>
                  </a:lnTo>
                  <a:lnTo>
                    <a:pt x="533" y="3"/>
                  </a:lnTo>
                  <a:lnTo>
                    <a:pt x="526" y="5"/>
                  </a:lnTo>
                  <a:lnTo>
                    <a:pt x="518" y="7"/>
                  </a:lnTo>
                  <a:lnTo>
                    <a:pt x="512" y="10"/>
                  </a:lnTo>
                  <a:lnTo>
                    <a:pt x="505" y="14"/>
                  </a:lnTo>
                  <a:lnTo>
                    <a:pt x="498" y="19"/>
                  </a:lnTo>
                  <a:lnTo>
                    <a:pt x="492" y="24"/>
                  </a:lnTo>
                  <a:lnTo>
                    <a:pt x="486" y="29"/>
                  </a:lnTo>
                  <a:lnTo>
                    <a:pt x="481" y="36"/>
                  </a:lnTo>
                  <a:lnTo>
                    <a:pt x="476" y="42"/>
                  </a:lnTo>
                  <a:lnTo>
                    <a:pt x="471" y="50"/>
                  </a:lnTo>
                  <a:lnTo>
                    <a:pt x="467" y="57"/>
                  </a:lnTo>
                  <a:lnTo>
                    <a:pt x="457" y="75"/>
                  </a:lnTo>
                  <a:lnTo>
                    <a:pt x="441" y="113"/>
                  </a:lnTo>
                  <a:lnTo>
                    <a:pt x="424" y="150"/>
                  </a:lnTo>
                  <a:lnTo>
                    <a:pt x="408" y="188"/>
                  </a:lnTo>
                  <a:lnTo>
                    <a:pt x="392" y="225"/>
                  </a:lnTo>
                  <a:lnTo>
                    <a:pt x="374" y="263"/>
                  </a:lnTo>
                  <a:lnTo>
                    <a:pt x="358" y="300"/>
                  </a:lnTo>
                  <a:lnTo>
                    <a:pt x="341" y="338"/>
                  </a:lnTo>
                  <a:lnTo>
                    <a:pt x="325" y="375"/>
                  </a:lnTo>
                  <a:lnTo>
                    <a:pt x="308" y="338"/>
                  </a:lnTo>
                  <a:lnTo>
                    <a:pt x="291" y="300"/>
                  </a:lnTo>
                  <a:lnTo>
                    <a:pt x="275" y="263"/>
                  </a:lnTo>
                  <a:lnTo>
                    <a:pt x="258" y="225"/>
                  </a:lnTo>
                  <a:lnTo>
                    <a:pt x="241" y="188"/>
                  </a:lnTo>
                  <a:lnTo>
                    <a:pt x="225" y="150"/>
                  </a:lnTo>
                  <a:lnTo>
                    <a:pt x="208" y="113"/>
                  </a:lnTo>
                  <a:lnTo>
                    <a:pt x="192" y="75"/>
                  </a:lnTo>
                  <a:lnTo>
                    <a:pt x="183" y="57"/>
                  </a:lnTo>
                  <a:lnTo>
                    <a:pt x="178" y="50"/>
                  </a:lnTo>
                  <a:lnTo>
                    <a:pt x="173" y="42"/>
                  </a:lnTo>
                  <a:lnTo>
                    <a:pt x="168" y="36"/>
                  </a:lnTo>
                  <a:lnTo>
                    <a:pt x="162" y="29"/>
                  </a:lnTo>
                  <a:lnTo>
                    <a:pt x="157" y="24"/>
                  </a:lnTo>
                  <a:lnTo>
                    <a:pt x="150" y="19"/>
                  </a:lnTo>
                  <a:lnTo>
                    <a:pt x="144" y="14"/>
                  </a:lnTo>
                  <a:lnTo>
                    <a:pt x="137" y="10"/>
                  </a:lnTo>
                  <a:lnTo>
                    <a:pt x="131" y="7"/>
                  </a:lnTo>
                  <a:lnTo>
                    <a:pt x="123" y="5"/>
                  </a:lnTo>
                  <a:lnTo>
                    <a:pt x="116" y="3"/>
                  </a:lnTo>
                  <a:lnTo>
                    <a:pt x="108" y="1"/>
                  </a:lnTo>
                  <a:lnTo>
                    <a:pt x="99" y="0"/>
                  </a:lnTo>
                  <a:lnTo>
                    <a:pt x="90" y="0"/>
                  </a:lnTo>
                  <a:lnTo>
                    <a:pt x="83" y="0"/>
                  </a:lnTo>
                  <a:lnTo>
                    <a:pt x="74" y="1"/>
                  </a:lnTo>
                  <a:lnTo>
                    <a:pt x="65" y="4"/>
                  </a:lnTo>
                  <a:lnTo>
                    <a:pt x="58" y="6"/>
                  </a:lnTo>
                  <a:lnTo>
                    <a:pt x="50" y="9"/>
                  </a:lnTo>
                  <a:lnTo>
                    <a:pt x="42" y="13"/>
                  </a:lnTo>
                  <a:lnTo>
                    <a:pt x="35" y="19"/>
                  </a:lnTo>
                  <a:lnTo>
                    <a:pt x="28" y="24"/>
                  </a:lnTo>
                  <a:lnTo>
                    <a:pt x="23" y="30"/>
                  </a:lnTo>
                  <a:lnTo>
                    <a:pt x="17" y="38"/>
                  </a:lnTo>
                  <a:lnTo>
                    <a:pt x="8" y="55"/>
                  </a:lnTo>
                  <a:lnTo>
                    <a:pt x="2" y="75"/>
                  </a:lnTo>
                  <a:lnTo>
                    <a:pt x="0" y="100"/>
                  </a:lnTo>
                  <a:lnTo>
                    <a:pt x="0" y="472"/>
                  </a:lnTo>
                  <a:lnTo>
                    <a:pt x="101" y="472"/>
                  </a:lnTo>
                  <a:lnTo>
                    <a:pt x="101" y="110"/>
                  </a:lnTo>
                  <a:lnTo>
                    <a:pt x="119" y="147"/>
                  </a:lnTo>
                  <a:lnTo>
                    <a:pt x="135" y="185"/>
                  </a:lnTo>
                  <a:lnTo>
                    <a:pt x="152" y="221"/>
                  </a:lnTo>
                  <a:lnTo>
                    <a:pt x="169" y="259"/>
                  </a:lnTo>
                  <a:lnTo>
                    <a:pt x="185" y="296"/>
                  </a:lnTo>
                  <a:lnTo>
                    <a:pt x="202" y="334"/>
                  </a:lnTo>
                  <a:lnTo>
                    <a:pt x="219" y="371"/>
                  </a:lnTo>
                  <a:lnTo>
                    <a:pt x="236" y="408"/>
                  </a:lnTo>
                  <a:lnTo>
                    <a:pt x="239" y="415"/>
                  </a:lnTo>
                  <a:lnTo>
                    <a:pt x="243" y="423"/>
                  </a:lnTo>
                  <a:lnTo>
                    <a:pt x="246" y="430"/>
                  </a:lnTo>
                  <a:lnTo>
                    <a:pt x="251" y="436"/>
                  </a:lnTo>
                  <a:lnTo>
                    <a:pt x="255" y="442"/>
                  </a:lnTo>
                  <a:lnTo>
                    <a:pt x="261" y="447"/>
                  </a:lnTo>
                  <a:lnTo>
                    <a:pt x="266" y="453"/>
                  </a:lnTo>
                  <a:lnTo>
                    <a:pt x="270" y="458"/>
                  </a:lnTo>
                  <a:lnTo>
                    <a:pt x="277" y="461"/>
                  </a:lnTo>
                  <a:lnTo>
                    <a:pt x="282" y="465"/>
                  </a:lnTo>
                  <a:lnTo>
                    <a:pt x="289" y="469"/>
                  </a:lnTo>
                  <a:lnTo>
                    <a:pt x="296" y="471"/>
                  </a:lnTo>
                  <a:lnTo>
                    <a:pt x="302" y="473"/>
                  </a:lnTo>
                  <a:lnTo>
                    <a:pt x="310" y="475"/>
                  </a:lnTo>
                  <a:lnTo>
                    <a:pt x="316" y="475"/>
                  </a:lnTo>
                  <a:lnTo>
                    <a:pt x="325" y="476"/>
                  </a:lnTo>
                  <a:lnTo>
                    <a:pt x="325" y="476"/>
                  </a:lnTo>
                  <a:lnTo>
                    <a:pt x="333" y="475"/>
                  </a:lnTo>
                  <a:lnTo>
                    <a:pt x="340" y="475"/>
                  </a:lnTo>
                  <a:lnTo>
                    <a:pt x="347" y="473"/>
                  </a:lnTo>
                  <a:lnTo>
                    <a:pt x="353" y="471"/>
                  </a:lnTo>
                  <a:lnTo>
                    <a:pt x="360" y="469"/>
                  </a:lnTo>
                  <a:lnTo>
                    <a:pt x="366" y="465"/>
                  </a:lnTo>
                  <a:lnTo>
                    <a:pt x="372" y="461"/>
                  </a:lnTo>
                  <a:lnTo>
                    <a:pt x="378" y="458"/>
                  </a:lnTo>
                  <a:lnTo>
                    <a:pt x="384" y="453"/>
                  </a:lnTo>
                  <a:lnTo>
                    <a:pt x="388" y="447"/>
                  </a:lnTo>
                  <a:lnTo>
                    <a:pt x="394" y="442"/>
                  </a:lnTo>
                  <a:lnTo>
                    <a:pt x="398" y="436"/>
                  </a:lnTo>
                  <a:lnTo>
                    <a:pt x="402" y="430"/>
                  </a:lnTo>
                  <a:lnTo>
                    <a:pt x="406" y="423"/>
                  </a:lnTo>
                  <a:lnTo>
                    <a:pt x="410" y="415"/>
                  </a:lnTo>
                  <a:lnTo>
                    <a:pt x="413" y="408"/>
                  </a:lnTo>
                  <a:lnTo>
                    <a:pt x="430" y="371"/>
                  </a:lnTo>
                  <a:lnTo>
                    <a:pt x="447" y="334"/>
                  </a:lnTo>
                  <a:lnTo>
                    <a:pt x="464" y="296"/>
                  </a:lnTo>
                  <a:lnTo>
                    <a:pt x="480" y="259"/>
                  </a:lnTo>
                  <a:lnTo>
                    <a:pt x="497" y="221"/>
                  </a:lnTo>
                  <a:lnTo>
                    <a:pt x="514" y="185"/>
                  </a:lnTo>
                  <a:lnTo>
                    <a:pt x="530" y="147"/>
                  </a:lnTo>
                  <a:lnTo>
                    <a:pt x="548" y="110"/>
                  </a:lnTo>
                  <a:lnTo>
                    <a:pt x="548" y="472"/>
                  </a:lnTo>
                  <a:lnTo>
                    <a:pt x="649" y="472"/>
                  </a:lnTo>
                  <a:lnTo>
                    <a:pt x="649" y="100"/>
                  </a:lnTo>
                  <a:lnTo>
                    <a:pt x="647" y="75"/>
                  </a:lnTo>
                  <a:lnTo>
                    <a:pt x="641" y="55"/>
                  </a:lnTo>
                  <a:lnTo>
                    <a:pt x="633" y="38"/>
                  </a:lnTo>
                  <a:lnTo>
                    <a:pt x="626" y="30"/>
                  </a:lnTo>
                  <a:lnTo>
                    <a:pt x="621" y="24"/>
                  </a:lnTo>
                  <a:lnTo>
                    <a:pt x="614" y="19"/>
                  </a:lnTo>
                  <a:lnTo>
                    <a:pt x="606" y="13"/>
                  </a:lnTo>
                  <a:lnTo>
                    <a:pt x="599" y="9"/>
                  </a:lnTo>
                  <a:lnTo>
                    <a:pt x="591" y="6"/>
                  </a:lnTo>
                  <a:lnTo>
                    <a:pt x="584" y="4"/>
                  </a:lnTo>
                  <a:lnTo>
                    <a:pt x="575" y="1"/>
                  </a:lnTo>
                  <a:lnTo>
                    <a:pt x="567" y="0"/>
                  </a:lnTo>
                  <a:lnTo>
                    <a:pt x="5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 defTabSz="804864">
                <a:defRPr/>
              </a:pPr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35" name="Freeform 9"/>
            <p:cNvSpPr/>
            <p:nvPr/>
          </p:nvSpPr>
          <p:spPr bwMode="auto">
            <a:xfrm>
              <a:off x="3010760" y="2909992"/>
              <a:ext cx="1038025" cy="1153354"/>
            </a:xfrm>
            <a:custGeom>
              <a:avLst/>
              <a:gdLst>
                <a:gd name="T0" fmla="*/ 111 w 362"/>
                <a:gd name="T1" fmla="*/ 315 h 400"/>
                <a:gd name="T2" fmla="*/ 109 w 362"/>
                <a:gd name="T3" fmla="*/ 315 h 400"/>
                <a:gd name="T4" fmla="*/ 108 w 362"/>
                <a:gd name="T5" fmla="*/ 315 h 400"/>
                <a:gd name="T6" fmla="*/ 105 w 362"/>
                <a:gd name="T7" fmla="*/ 314 h 400"/>
                <a:gd name="T8" fmla="*/ 104 w 362"/>
                <a:gd name="T9" fmla="*/ 313 h 400"/>
                <a:gd name="T10" fmla="*/ 103 w 362"/>
                <a:gd name="T11" fmla="*/ 312 h 400"/>
                <a:gd name="T12" fmla="*/ 102 w 362"/>
                <a:gd name="T13" fmla="*/ 310 h 400"/>
                <a:gd name="T14" fmla="*/ 102 w 362"/>
                <a:gd name="T15" fmla="*/ 309 h 400"/>
                <a:gd name="T16" fmla="*/ 102 w 362"/>
                <a:gd name="T17" fmla="*/ 307 h 400"/>
                <a:gd name="T18" fmla="*/ 102 w 362"/>
                <a:gd name="T19" fmla="*/ 236 h 400"/>
                <a:gd name="T20" fmla="*/ 356 w 362"/>
                <a:gd name="T21" fmla="*/ 236 h 400"/>
                <a:gd name="T22" fmla="*/ 356 w 362"/>
                <a:gd name="T23" fmla="*/ 154 h 400"/>
                <a:gd name="T24" fmla="*/ 102 w 362"/>
                <a:gd name="T25" fmla="*/ 154 h 400"/>
                <a:gd name="T26" fmla="*/ 102 w 362"/>
                <a:gd name="T27" fmla="*/ 93 h 400"/>
                <a:gd name="T28" fmla="*/ 102 w 362"/>
                <a:gd name="T29" fmla="*/ 91 h 400"/>
                <a:gd name="T30" fmla="*/ 102 w 362"/>
                <a:gd name="T31" fmla="*/ 90 h 400"/>
                <a:gd name="T32" fmla="*/ 103 w 362"/>
                <a:gd name="T33" fmla="*/ 88 h 400"/>
                <a:gd name="T34" fmla="*/ 104 w 362"/>
                <a:gd name="T35" fmla="*/ 87 h 400"/>
                <a:gd name="T36" fmla="*/ 105 w 362"/>
                <a:gd name="T37" fmla="*/ 86 h 400"/>
                <a:gd name="T38" fmla="*/ 108 w 362"/>
                <a:gd name="T39" fmla="*/ 86 h 400"/>
                <a:gd name="T40" fmla="*/ 109 w 362"/>
                <a:gd name="T41" fmla="*/ 85 h 400"/>
                <a:gd name="T42" fmla="*/ 111 w 362"/>
                <a:gd name="T43" fmla="*/ 85 h 400"/>
                <a:gd name="T44" fmla="*/ 362 w 362"/>
                <a:gd name="T45" fmla="*/ 85 h 400"/>
                <a:gd name="T46" fmla="*/ 362 w 362"/>
                <a:gd name="T47" fmla="*/ 0 h 400"/>
                <a:gd name="T48" fmla="*/ 61 w 362"/>
                <a:gd name="T49" fmla="*/ 0 h 400"/>
                <a:gd name="T50" fmla="*/ 54 w 362"/>
                <a:gd name="T51" fmla="*/ 0 h 400"/>
                <a:gd name="T52" fmla="*/ 48 w 362"/>
                <a:gd name="T53" fmla="*/ 1 h 400"/>
                <a:gd name="T54" fmla="*/ 42 w 362"/>
                <a:gd name="T55" fmla="*/ 3 h 400"/>
                <a:gd name="T56" fmla="*/ 36 w 362"/>
                <a:gd name="T57" fmla="*/ 6 h 400"/>
                <a:gd name="T58" fmla="*/ 31 w 362"/>
                <a:gd name="T59" fmla="*/ 8 h 400"/>
                <a:gd name="T60" fmla="*/ 26 w 362"/>
                <a:gd name="T61" fmla="*/ 11 h 400"/>
                <a:gd name="T62" fmla="*/ 21 w 362"/>
                <a:gd name="T63" fmla="*/ 14 h 400"/>
                <a:gd name="T64" fmla="*/ 17 w 362"/>
                <a:gd name="T65" fmla="*/ 18 h 400"/>
                <a:gd name="T66" fmla="*/ 13 w 362"/>
                <a:gd name="T67" fmla="*/ 23 h 400"/>
                <a:gd name="T68" fmla="*/ 9 w 362"/>
                <a:gd name="T69" fmla="*/ 28 h 400"/>
                <a:gd name="T70" fmla="*/ 7 w 362"/>
                <a:gd name="T71" fmla="*/ 32 h 400"/>
                <a:gd name="T72" fmla="*/ 4 w 362"/>
                <a:gd name="T73" fmla="*/ 38 h 400"/>
                <a:gd name="T74" fmla="*/ 3 w 362"/>
                <a:gd name="T75" fmla="*/ 43 h 400"/>
                <a:gd name="T76" fmla="*/ 1 w 362"/>
                <a:gd name="T77" fmla="*/ 48 h 400"/>
                <a:gd name="T78" fmla="*/ 0 w 362"/>
                <a:gd name="T79" fmla="*/ 54 h 400"/>
                <a:gd name="T80" fmla="*/ 0 w 362"/>
                <a:gd name="T81" fmla="*/ 60 h 400"/>
                <a:gd name="T82" fmla="*/ 0 w 362"/>
                <a:gd name="T83" fmla="*/ 340 h 400"/>
                <a:gd name="T84" fmla="*/ 0 w 362"/>
                <a:gd name="T85" fmla="*/ 346 h 400"/>
                <a:gd name="T86" fmla="*/ 1 w 362"/>
                <a:gd name="T87" fmla="*/ 352 h 400"/>
                <a:gd name="T88" fmla="*/ 3 w 362"/>
                <a:gd name="T89" fmla="*/ 357 h 400"/>
                <a:gd name="T90" fmla="*/ 4 w 362"/>
                <a:gd name="T91" fmla="*/ 362 h 400"/>
                <a:gd name="T92" fmla="*/ 7 w 362"/>
                <a:gd name="T93" fmla="*/ 368 h 400"/>
                <a:gd name="T94" fmla="*/ 9 w 362"/>
                <a:gd name="T95" fmla="*/ 373 h 400"/>
                <a:gd name="T96" fmla="*/ 13 w 362"/>
                <a:gd name="T97" fmla="*/ 377 h 400"/>
                <a:gd name="T98" fmla="*/ 17 w 362"/>
                <a:gd name="T99" fmla="*/ 382 h 400"/>
                <a:gd name="T100" fmla="*/ 21 w 362"/>
                <a:gd name="T101" fmla="*/ 386 h 400"/>
                <a:gd name="T102" fmla="*/ 26 w 362"/>
                <a:gd name="T103" fmla="*/ 389 h 400"/>
                <a:gd name="T104" fmla="*/ 31 w 362"/>
                <a:gd name="T105" fmla="*/ 392 h 400"/>
                <a:gd name="T106" fmla="*/ 36 w 362"/>
                <a:gd name="T107" fmla="*/ 394 h 400"/>
                <a:gd name="T108" fmla="*/ 42 w 362"/>
                <a:gd name="T109" fmla="*/ 397 h 400"/>
                <a:gd name="T110" fmla="*/ 48 w 362"/>
                <a:gd name="T111" fmla="*/ 399 h 400"/>
                <a:gd name="T112" fmla="*/ 54 w 362"/>
                <a:gd name="T113" fmla="*/ 400 h 400"/>
                <a:gd name="T114" fmla="*/ 61 w 362"/>
                <a:gd name="T115" fmla="*/ 400 h 400"/>
                <a:gd name="T116" fmla="*/ 362 w 362"/>
                <a:gd name="T117" fmla="*/ 400 h 400"/>
                <a:gd name="T118" fmla="*/ 362 w 362"/>
                <a:gd name="T119" fmla="*/ 315 h 400"/>
                <a:gd name="T120" fmla="*/ 143 w 362"/>
                <a:gd name="T121" fmla="*/ 315 h 400"/>
                <a:gd name="T122" fmla="*/ 111 w 362"/>
                <a:gd name="T123" fmla="*/ 315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2" h="400" fill="norm" stroke="1" extrusionOk="0">
                  <a:moveTo>
                    <a:pt x="111" y="315"/>
                  </a:moveTo>
                  <a:lnTo>
                    <a:pt x="109" y="315"/>
                  </a:lnTo>
                  <a:lnTo>
                    <a:pt x="108" y="315"/>
                  </a:lnTo>
                  <a:lnTo>
                    <a:pt x="105" y="314"/>
                  </a:lnTo>
                  <a:lnTo>
                    <a:pt x="104" y="313"/>
                  </a:lnTo>
                  <a:lnTo>
                    <a:pt x="103" y="312"/>
                  </a:lnTo>
                  <a:lnTo>
                    <a:pt x="102" y="310"/>
                  </a:lnTo>
                  <a:lnTo>
                    <a:pt x="102" y="309"/>
                  </a:lnTo>
                  <a:lnTo>
                    <a:pt x="102" y="307"/>
                  </a:lnTo>
                  <a:lnTo>
                    <a:pt x="102" y="236"/>
                  </a:lnTo>
                  <a:lnTo>
                    <a:pt x="356" y="236"/>
                  </a:lnTo>
                  <a:lnTo>
                    <a:pt x="356" y="154"/>
                  </a:lnTo>
                  <a:lnTo>
                    <a:pt x="102" y="154"/>
                  </a:ln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5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1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9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340"/>
                  </a:lnTo>
                  <a:lnTo>
                    <a:pt x="0" y="346"/>
                  </a:lnTo>
                  <a:lnTo>
                    <a:pt x="1" y="352"/>
                  </a:lnTo>
                  <a:lnTo>
                    <a:pt x="3" y="357"/>
                  </a:lnTo>
                  <a:lnTo>
                    <a:pt x="4" y="362"/>
                  </a:lnTo>
                  <a:lnTo>
                    <a:pt x="7" y="368"/>
                  </a:lnTo>
                  <a:lnTo>
                    <a:pt x="9" y="373"/>
                  </a:lnTo>
                  <a:lnTo>
                    <a:pt x="13" y="377"/>
                  </a:lnTo>
                  <a:lnTo>
                    <a:pt x="17" y="382"/>
                  </a:lnTo>
                  <a:lnTo>
                    <a:pt x="21" y="386"/>
                  </a:lnTo>
                  <a:lnTo>
                    <a:pt x="26" y="389"/>
                  </a:lnTo>
                  <a:lnTo>
                    <a:pt x="31" y="392"/>
                  </a:lnTo>
                  <a:lnTo>
                    <a:pt x="36" y="394"/>
                  </a:lnTo>
                  <a:lnTo>
                    <a:pt x="42" y="397"/>
                  </a:lnTo>
                  <a:lnTo>
                    <a:pt x="48" y="399"/>
                  </a:lnTo>
                  <a:lnTo>
                    <a:pt x="54" y="400"/>
                  </a:lnTo>
                  <a:lnTo>
                    <a:pt x="61" y="400"/>
                  </a:lnTo>
                  <a:lnTo>
                    <a:pt x="362" y="400"/>
                  </a:lnTo>
                  <a:lnTo>
                    <a:pt x="362" y="315"/>
                  </a:lnTo>
                  <a:lnTo>
                    <a:pt x="143" y="315"/>
                  </a:lnTo>
                  <a:lnTo>
                    <a:pt x="111" y="31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 defTabSz="804864">
                <a:defRPr/>
              </a:pPr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36" name="Freeform 10"/>
            <p:cNvSpPr/>
            <p:nvPr/>
          </p:nvSpPr>
          <p:spPr bwMode="auto">
            <a:xfrm>
              <a:off x="4250623" y="2909992"/>
              <a:ext cx="1052442" cy="1153354"/>
            </a:xfrm>
            <a:custGeom>
              <a:avLst/>
              <a:gdLst>
                <a:gd name="T0" fmla="*/ 102 w 362"/>
                <a:gd name="T1" fmla="*/ 400 h 400"/>
                <a:gd name="T2" fmla="*/ 102 w 362"/>
                <a:gd name="T3" fmla="*/ 93 h 400"/>
                <a:gd name="T4" fmla="*/ 102 w 362"/>
                <a:gd name="T5" fmla="*/ 91 h 400"/>
                <a:gd name="T6" fmla="*/ 102 w 362"/>
                <a:gd name="T7" fmla="*/ 90 h 400"/>
                <a:gd name="T8" fmla="*/ 103 w 362"/>
                <a:gd name="T9" fmla="*/ 88 h 400"/>
                <a:gd name="T10" fmla="*/ 104 w 362"/>
                <a:gd name="T11" fmla="*/ 87 h 400"/>
                <a:gd name="T12" fmla="*/ 106 w 362"/>
                <a:gd name="T13" fmla="*/ 86 h 400"/>
                <a:gd name="T14" fmla="*/ 108 w 362"/>
                <a:gd name="T15" fmla="*/ 86 h 400"/>
                <a:gd name="T16" fmla="*/ 109 w 362"/>
                <a:gd name="T17" fmla="*/ 85 h 400"/>
                <a:gd name="T18" fmla="*/ 111 w 362"/>
                <a:gd name="T19" fmla="*/ 85 h 400"/>
                <a:gd name="T20" fmla="*/ 362 w 362"/>
                <a:gd name="T21" fmla="*/ 85 h 400"/>
                <a:gd name="T22" fmla="*/ 362 w 362"/>
                <a:gd name="T23" fmla="*/ 0 h 400"/>
                <a:gd name="T24" fmla="*/ 61 w 362"/>
                <a:gd name="T25" fmla="*/ 0 h 400"/>
                <a:gd name="T26" fmla="*/ 54 w 362"/>
                <a:gd name="T27" fmla="*/ 0 h 400"/>
                <a:gd name="T28" fmla="*/ 48 w 362"/>
                <a:gd name="T29" fmla="*/ 1 h 400"/>
                <a:gd name="T30" fmla="*/ 42 w 362"/>
                <a:gd name="T31" fmla="*/ 3 h 400"/>
                <a:gd name="T32" fmla="*/ 36 w 362"/>
                <a:gd name="T33" fmla="*/ 6 h 400"/>
                <a:gd name="T34" fmla="*/ 31 w 362"/>
                <a:gd name="T35" fmla="*/ 8 h 400"/>
                <a:gd name="T36" fmla="*/ 26 w 362"/>
                <a:gd name="T37" fmla="*/ 11 h 400"/>
                <a:gd name="T38" fmla="*/ 22 w 362"/>
                <a:gd name="T39" fmla="*/ 14 h 400"/>
                <a:gd name="T40" fmla="*/ 17 w 362"/>
                <a:gd name="T41" fmla="*/ 18 h 400"/>
                <a:gd name="T42" fmla="*/ 13 w 362"/>
                <a:gd name="T43" fmla="*/ 23 h 400"/>
                <a:gd name="T44" fmla="*/ 10 w 362"/>
                <a:gd name="T45" fmla="*/ 28 h 400"/>
                <a:gd name="T46" fmla="*/ 7 w 362"/>
                <a:gd name="T47" fmla="*/ 32 h 400"/>
                <a:gd name="T48" fmla="*/ 4 w 362"/>
                <a:gd name="T49" fmla="*/ 38 h 400"/>
                <a:gd name="T50" fmla="*/ 3 w 362"/>
                <a:gd name="T51" fmla="*/ 43 h 400"/>
                <a:gd name="T52" fmla="*/ 1 w 362"/>
                <a:gd name="T53" fmla="*/ 48 h 400"/>
                <a:gd name="T54" fmla="*/ 0 w 362"/>
                <a:gd name="T55" fmla="*/ 54 h 400"/>
                <a:gd name="T56" fmla="*/ 0 w 362"/>
                <a:gd name="T57" fmla="*/ 60 h 400"/>
                <a:gd name="T58" fmla="*/ 0 w 362"/>
                <a:gd name="T59" fmla="*/ 400 h 400"/>
                <a:gd name="T60" fmla="*/ 102 w 362"/>
                <a:gd name="T61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2" h="400" fill="norm" stroke="1" extrusionOk="0">
                  <a:moveTo>
                    <a:pt x="102" y="400"/>
                  </a:move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6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2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10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400"/>
                  </a:lnTo>
                  <a:lnTo>
                    <a:pt x="102" y="4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 defTabSz="804864">
                <a:defRPr/>
              </a:pPr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37" name="Freeform 11"/>
            <p:cNvSpPr>
              <a:spLocks noEditPoints="1"/>
            </p:cNvSpPr>
            <p:nvPr/>
          </p:nvSpPr>
          <p:spPr bwMode="auto">
            <a:xfrm>
              <a:off x="8503641" y="2895575"/>
              <a:ext cx="1355199" cy="1182188"/>
            </a:xfrm>
            <a:custGeom>
              <a:avLst/>
              <a:gdLst>
                <a:gd name="T0" fmla="*/ 467 w 467"/>
                <a:gd name="T1" fmla="*/ 180 h 410"/>
                <a:gd name="T2" fmla="*/ 460 w 467"/>
                <a:gd name="T3" fmla="*/ 135 h 410"/>
                <a:gd name="T4" fmla="*/ 448 w 467"/>
                <a:gd name="T5" fmla="*/ 96 h 410"/>
                <a:gd name="T6" fmla="*/ 430 w 467"/>
                <a:gd name="T7" fmla="*/ 64 h 410"/>
                <a:gd name="T8" fmla="*/ 403 w 467"/>
                <a:gd name="T9" fmla="*/ 38 h 410"/>
                <a:gd name="T10" fmla="*/ 370 w 467"/>
                <a:gd name="T11" fmla="*/ 20 h 410"/>
                <a:gd name="T12" fmla="*/ 328 w 467"/>
                <a:gd name="T13" fmla="*/ 7 h 410"/>
                <a:gd name="T14" fmla="*/ 279 w 467"/>
                <a:gd name="T15" fmla="*/ 1 h 410"/>
                <a:gd name="T16" fmla="*/ 216 w 467"/>
                <a:gd name="T17" fmla="*/ 0 h 410"/>
                <a:gd name="T18" fmla="*/ 162 w 467"/>
                <a:gd name="T19" fmla="*/ 3 h 410"/>
                <a:gd name="T20" fmla="*/ 116 w 467"/>
                <a:gd name="T21" fmla="*/ 13 h 410"/>
                <a:gd name="T22" fmla="*/ 79 w 467"/>
                <a:gd name="T23" fmla="*/ 29 h 410"/>
                <a:gd name="T24" fmla="*/ 50 w 467"/>
                <a:gd name="T25" fmla="*/ 50 h 410"/>
                <a:gd name="T26" fmla="*/ 27 w 467"/>
                <a:gd name="T27" fmla="*/ 79 h 410"/>
                <a:gd name="T28" fmla="*/ 12 w 467"/>
                <a:gd name="T29" fmla="*/ 114 h 410"/>
                <a:gd name="T30" fmla="*/ 3 w 467"/>
                <a:gd name="T31" fmla="*/ 156 h 410"/>
                <a:gd name="T32" fmla="*/ 0 w 467"/>
                <a:gd name="T33" fmla="*/ 205 h 410"/>
                <a:gd name="T34" fmla="*/ 1 w 467"/>
                <a:gd name="T35" fmla="*/ 230 h 410"/>
                <a:gd name="T36" fmla="*/ 6 w 467"/>
                <a:gd name="T37" fmla="*/ 275 h 410"/>
                <a:gd name="T38" fmla="*/ 19 w 467"/>
                <a:gd name="T39" fmla="*/ 314 h 410"/>
                <a:gd name="T40" fmla="*/ 38 w 467"/>
                <a:gd name="T41" fmla="*/ 346 h 410"/>
                <a:gd name="T42" fmla="*/ 64 w 467"/>
                <a:gd name="T43" fmla="*/ 372 h 410"/>
                <a:gd name="T44" fmla="*/ 98 w 467"/>
                <a:gd name="T45" fmla="*/ 390 h 410"/>
                <a:gd name="T46" fmla="*/ 139 w 467"/>
                <a:gd name="T47" fmla="*/ 403 h 410"/>
                <a:gd name="T48" fmla="*/ 188 w 467"/>
                <a:gd name="T49" fmla="*/ 409 h 410"/>
                <a:gd name="T50" fmla="*/ 251 w 467"/>
                <a:gd name="T51" fmla="*/ 410 h 410"/>
                <a:gd name="T52" fmla="*/ 304 w 467"/>
                <a:gd name="T53" fmla="*/ 407 h 410"/>
                <a:gd name="T54" fmla="*/ 349 w 467"/>
                <a:gd name="T55" fmla="*/ 397 h 410"/>
                <a:gd name="T56" fmla="*/ 387 w 467"/>
                <a:gd name="T57" fmla="*/ 381 h 410"/>
                <a:gd name="T58" fmla="*/ 416 w 467"/>
                <a:gd name="T59" fmla="*/ 360 h 410"/>
                <a:gd name="T60" fmla="*/ 439 w 467"/>
                <a:gd name="T61" fmla="*/ 331 h 410"/>
                <a:gd name="T62" fmla="*/ 455 w 467"/>
                <a:gd name="T63" fmla="*/ 295 h 410"/>
                <a:gd name="T64" fmla="*/ 464 w 467"/>
                <a:gd name="T65" fmla="*/ 254 h 410"/>
                <a:gd name="T66" fmla="*/ 467 w 467"/>
                <a:gd name="T67" fmla="*/ 205 h 410"/>
                <a:gd name="T68" fmla="*/ 250 w 467"/>
                <a:gd name="T69" fmla="*/ 327 h 410"/>
                <a:gd name="T70" fmla="*/ 187 w 467"/>
                <a:gd name="T71" fmla="*/ 325 h 410"/>
                <a:gd name="T72" fmla="*/ 143 w 467"/>
                <a:gd name="T73" fmla="*/ 310 h 410"/>
                <a:gd name="T74" fmla="*/ 126 w 467"/>
                <a:gd name="T75" fmla="*/ 298 h 410"/>
                <a:gd name="T76" fmla="*/ 114 w 467"/>
                <a:gd name="T77" fmla="*/ 280 h 410"/>
                <a:gd name="T78" fmla="*/ 101 w 467"/>
                <a:gd name="T79" fmla="*/ 235 h 410"/>
                <a:gd name="T80" fmla="*/ 99 w 467"/>
                <a:gd name="T81" fmla="*/ 205 h 410"/>
                <a:gd name="T82" fmla="*/ 106 w 467"/>
                <a:gd name="T83" fmla="*/ 152 h 410"/>
                <a:gd name="T84" fmla="*/ 119 w 467"/>
                <a:gd name="T85" fmla="*/ 122 h 410"/>
                <a:gd name="T86" fmla="*/ 132 w 467"/>
                <a:gd name="T87" fmla="*/ 107 h 410"/>
                <a:gd name="T88" fmla="*/ 161 w 467"/>
                <a:gd name="T89" fmla="*/ 92 h 410"/>
                <a:gd name="T90" fmla="*/ 186 w 467"/>
                <a:gd name="T91" fmla="*/ 87 h 410"/>
                <a:gd name="T92" fmla="*/ 217 w 467"/>
                <a:gd name="T93" fmla="*/ 84 h 410"/>
                <a:gd name="T94" fmla="*/ 265 w 467"/>
                <a:gd name="T95" fmla="*/ 84 h 410"/>
                <a:gd name="T96" fmla="*/ 304 w 467"/>
                <a:gd name="T97" fmla="*/ 92 h 410"/>
                <a:gd name="T98" fmla="*/ 334 w 467"/>
                <a:gd name="T99" fmla="*/ 107 h 410"/>
                <a:gd name="T100" fmla="*/ 348 w 467"/>
                <a:gd name="T101" fmla="*/ 122 h 410"/>
                <a:gd name="T102" fmla="*/ 361 w 467"/>
                <a:gd name="T103" fmla="*/ 152 h 410"/>
                <a:gd name="T104" fmla="*/ 367 w 467"/>
                <a:gd name="T105" fmla="*/ 205 h 410"/>
                <a:gd name="T106" fmla="*/ 366 w 467"/>
                <a:gd name="T107" fmla="*/ 235 h 410"/>
                <a:gd name="T108" fmla="*/ 352 w 467"/>
                <a:gd name="T109" fmla="*/ 280 h 410"/>
                <a:gd name="T110" fmla="*/ 340 w 467"/>
                <a:gd name="T111" fmla="*/ 298 h 410"/>
                <a:gd name="T112" fmla="*/ 324 w 467"/>
                <a:gd name="T113" fmla="*/ 310 h 410"/>
                <a:gd name="T114" fmla="*/ 279 w 467"/>
                <a:gd name="T115" fmla="*/ 325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7" h="410" fill="norm" stroke="1" extrusionOk="0">
                  <a:moveTo>
                    <a:pt x="467" y="205"/>
                  </a:moveTo>
                  <a:lnTo>
                    <a:pt x="467" y="180"/>
                  </a:lnTo>
                  <a:lnTo>
                    <a:pt x="464" y="156"/>
                  </a:lnTo>
                  <a:lnTo>
                    <a:pt x="460" y="135"/>
                  </a:lnTo>
                  <a:lnTo>
                    <a:pt x="455" y="114"/>
                  </a:lnTo>
                  <a:lnTo>
                    <a:pt x="448" y="96"/>
                  </a:lnTo>
                  <a:lnTo>
                    <a:pt x="439" y="79"/>
                  </a:lnTo>
                  <a:lnTo>
                    <a:pt x="430" y="64"/>
                  </a:lnTo>
                  <a:lnTo>
                    <a:pt x="416" y="50"/>
                  </a:lnTo>
                  <a:lnTo>
                    <a:pt x="403" y="38"/>
                  </a:lnTo>
                  <a:lnTo>
                    <a:pt x="387" y="29"/>
                  </a:lnTo>
                  <a:lnTo>
                    <a:pt x="370" y="20"/>
                  </a:lnTo>
                  <a:lnTo>
                    <a:pt x="350" y="13"/>
                  </a:lnTo>
                  <a:lnTo>
                    <a:pt x="328" y="7"/>
                  </a:lnTo>
                  <a:lnTo>
                    <a:pt x="305" y="3"/>
                  </a:lnTo>
                  <a:lnTo>
                    <a:pt x="279" y="1"/>
                  </a:lnTo>
                  <a:lnTo>
                    <a:pt x="252" y="0"/>
                  </a:lnTo>
                  <a:lnTo>
                    <a:pt x="216" y="0"/>
                  </a:lnTo>
                  <a:lnTo>
                    <a:pt x="187" y="1"/>
                  </a:lnTo>
                  <a:lnTo>
                    <a:pt x="162" y="3"/>
                  </a:lnTo>
                  <a:lnTo>
                    <a:pt x="138" y="7"/>
                  </a:lnTo>
                  <a:lnTo>
                    <a:pt x="116" y="13"/>
                  </a:lnTo>
                  <a:lnTo>
                    <a:pt x="97" y="20"/>
                  </a:lnTo>
                  <a:lnTo>
                    <a:pt x="79" y="29"/>
                  </a:lnTo>
                  <a:lnTo>
                    <a:pt x="64" y="38"/>
                  </a:lnTo>
                  <a:lnTo>
                    <a:pt x="50" y="50"/>
                  </a:lnTo>
                  <a:lnTo>
                    <a:pt x="38" y="64"/>
                  </a:lnTo>
                  <a:lnTo>
                    <a:pt x="27" y="79"/>
                  </a:lnTo>
                  <a:lnTo>
                    <a:pt x="19" y="96"/>
                  </a:lnTo>
                  <a:lnTo>
                    <a:pt x="12" y="114"/>
                  </a:lnTo>
                  <a:lnTo>
                    <a:pt x="6" y="135"/>
                  </a:lnTo>
                  <a:lnTo>
                    <a:pt x="3" y="156"/>
                  </a:lnTo>
                  <a:lnTo>
                    <a:pt x="1" y="180"/>
                  </a:lnTo>
                  <a:lnTo>
                    <a:pt x="0" y="205"/>
                  </a:lnTo>
                  <a:lnTo>
                    <a:pt x="0" y="205"/>
                  </a:lnTo>
                  <a:lnTo>
                    <a:pt x="1" y="230"/>
                  </a:lnTo>
                  <a:lnTo>
                    <a:pt x="3" y="254"/>
                  </a:lnTo>
                  <a:lnTo>
                    <a:pt x="6" y="275"/>
                  </a:lnTo>
                  <a:lnTo>
                    <a:pt x="12" y="295"/>
                  </a:lnTo>
                  <a:lnTo>
                    <a:pt x="19" y="314"/>
                  </a:lnTo>
                  <a:lnTo>
                    <a:pt x="28" y="331"/>
                  </a:lnTo>
                  <a:lnTo>
                    <a:pt x="38" y="346"/>
                  </a:lnTo>
                  <a:lnTo>
                    <a:pt x="50" y="360"/>
                  </a:lnTo>
                  <a:lnTo>
                    <a:pt x="64" y="372"/>
                  </a:lnTo>
                  <a:lnTo>
                    <a:pt x="80" y="381"/>
                  </a:lnTo>
                  <a:lnTo>
                    <a:pt x="98" y="390"/>
                  </a:lnTo>
                  <a:lnTo>
                    <a:pt x="118" y="397"/>
                  </a:lnTo>
                  <a:lnTo>
                    <a:pt x="139" y="403"/>
                  </a:lnTo>
                  <a:lnTo>
                    <a:pt x="163" y="407"/>
                  </a:lnTo>
                  <a:lnTo>
                    <a:pt x="188" y="409"/>
                  </a:lnTo>
                  <a:lnTo>
                    <a:pt x="217" y="410"/>
                  </a:lnTo>
                  <a:lnTo>
                    <a:pt x="251" y="410"/>
                  </a:lnTo>
                  <a:lnTo>
                    <a:pt x="278" y="409"/>
                  </a:lnTo>
                  <a:lnTo>
                    <a:pt x="304" y="407"/>
                  </a:lnTo>
                  <a:lnTo>
                    <a:pt x="327" y="403"/>
                  </a:lnTo>
                  <a:lnTo>
                    <a:pt x="349" y="397"/>
                  </a:lnTo>
                  <a:lnTo>
                    <a:pt x="368" y="390"/>
                  </a:lnTo>
                  <a:lnTo>
                    <a:pt x="387" y="381"/>
                  </a:lnTo>
                  <a:lnTo>
                    <a:pt x="402" y="372"/>
                  </a:lnTo>
                  <a:lnTo>
                    <a:pt x="416" y="360"/>
                  </a:lnTo>
                  <a:lnTo>
                    <a:pt x="428" y="346"/>
                  </a:lnTo>
                  <a:lnTo>
                    <a:pt x="439" y="331"/>
                  </a:lnTo>
                  <a:lnTo>
                    <a:pt x="448" y="314"/>
                  </a:lnTo>
                  <a:lnTo>
                    <a:pt x="455" y="295"/>
                  </a:lnTo>
                  <a:lnTo>
                    <a:pt x="460" y="275"/>
                  </a:lnTo>
                  <a:lnTo>
                    <a:pt x="464" y="254"/>
                  </a:lnTo>
                  <a:lnTo>
                    <a:pt x="467" y="230"/>
                  </a:lnTo>
                  <a:lnTo>
                    <a:pt x="467" y="205"/>
                  </a:lnTo>
                  <a:lnTo>
                    <a:pt x="467" y="205"/>
                  </a:lnTo>
                  <a:close/>
                  <a:moveTo>
                    <a:pt x="250" y="327"/>
                  </a:moveTo>
                  <a:lnTo>
                    <a:pt x="217" y="327"/>
                  </a:lnTo>
                  <a:lnTo>
                    <a:pt x="187" y="325"/>
                  </a:lnTo>
                  <a:lnTo>
                    <a:pt x="162" y="320"/>
                  </a:lnTo>
                  <a:lnTo>
                    <a:pt x="143" y="310"/>
                  </a:lnTo>
                  <a:lnTo>
                    <a:pt x="134" y="305"/>
                  </a:lnTo>
                  <a:lnTo>
                    <a:pt x="126" y="298"/>
                  </a:lnTo>
                  <a:lnTo>
                    <a:pt x="120" y="290"/>
                  </a:lnTo>
                  <a:lnTo>
                    <a:pt x="114" y="280"/>
                  </a:lnTo>
                  <a:lnTo>
                    <a:pt x="106" y="260"/>
                  </a:lnTo>
                  <a:lnTo>
                    <a:pt x="101" y="235"/>
                  </a:lnTo>
                  <a:lnTo>
                    <a:pt x="99" y="205"/>
                  </a:lnTo>
                  <a:lnTo>
                    <a:pt x="99" y="205"/>
                  </a:lnTo>
                  <a:lnTo>
                    <a:pt x="100" y="177"/>
                  </a:lnTo>
                  <a:lnTo>
                    <a:pt x="106" y="152"/>
                  </a:lnTo>
                  <a:lnTo>
                    <a:pt x="113" y="132"/>
                  </a:lnTo>
                  <a:lnTo>
                    <a:pt x="119" y="122"/>
                  </a:lnTo>
                  <a:lnTo>
                    <a:pt x="125" y="114"/>
                  </a:lnTo>
                  <a:lnTo>
                    <a:pt x="132" y="107"/>
                  </a:lnTo>
                  <a:lnTo>
                    <a:pt x="140" y="102"/>
                  </a:lnTo>
                  <a:lnTo>
                    <a:pt x="161" y="92"/>
                  </a:lnTo>
                  <a:lnTo>
                    <a:pt x="173" y="89"/>
                  </a:lnTo>
                  <a:lnTo>
                    <a:pt x="186" y="87"/>
                  </a:lnTo>
                  <a:lnTo>
                    <a:pt x="202" y="84"/>
                  </a:lnTo>
                  <a:lnTo>
                    <a:pt x="217" y="84"/>
                  </a:lnTo>
                  <a:lnTo>
                    <a:pt x="250" y="84"/>
                  </a:lnTo>
                  <a:lnTo>
                    <a:pt x="265" y="84"/>
                  </a:lnTo>
                  <a:lnTo>
                    <a:pt x="280" y="87"/>
                  </a:lnTo>
                  <a:lnTo>
                    <a:pt x="304" y="92"/>
                  </a:lnTo>
                  <a:lnTo>
                    <a:pt x="325" y="102"/>
                  </a:lnTo>
                  <a:lnTo>
                    <a:pt x="334" y="107"/>
                  </a:lnTo>
                  <a:lnTo>
                    <a:pt x="341" y="114"/>
                  </a:lnTo>
                  <a:lnTo>
                    <a:pt x="348" y="122"/>
                  </a:lnTo>
                  <a:lnTo>
                    <a:pt x="353" y="132"/>
                  </a:lnTo>
                  <a:lnTo>
                    <a:pt x="361" y="152"/>
                  </a:lnTo>
                  <a:lnTo>
                    <a:pt x="366" y="177"/>
                  </a:lnTo>
                  <a:lnTo>
                    <a:pt x="367" y="205"/>
                  </a:lnTo>
                  <a:lnTo>
                    <a:pt x="367" y="205"/>
                  </a:lnTo>
                  <a:lnTo>
                    <a:pt x="366" y="235"/>
                  </a:lnTo>
                  <a:lnTo>
                    <a:pt x="361" y="260"/>
                  </a:lnTo>
                  <a:lnTo>
                    <a:pt x="352" y="280"/>
                  </a:lnTo>
                  <a:lnTo>
                    <a:pt x="347" y="290"/>
                  </a:lnTo>
                  <a:lnTo>
                    <a:pt x="340" y="298"/>
                  </a:lnTo>
                  <a:lnTo>
                    <a:pt x="332" y="305"/>
                  </a:lnTo>
                  <a:lnTo>
                    <a:pt x="324" y="310"/>
                  </a:lnTo>
                  <a:lnTo>
                    <a:pt x="304" y="320"/>
                  </a:lnTo>
                  <a:lnTo>
                    <a:pt x="279" y="325"/>
                  </a:lnTo>
                  <a:lnTo>
                    <a:pt x="250" y="3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 defTabSz="804864">
                <a:defRPr/>
              </a:pPr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38" name="Freeform 12"/>
            <p:cNvSpPr>
              <a:spLocks noEditPoints="1"/>
            </p:cNvSpPr>
            <p:nvPr/>
          </p:nvSpPr>
          <p:spPr bwMode="auto">
            <a:xfrm>
              <a:off x="6499676" y="2736988"/>
              <a:ext cx="1802126" cy="1326357"/>
            </a:xfrm>
            <a:custGeom>
              <a:avLst/>
              <a:gdLst>
                <a:gd name="T0" fmla="*/ 183 w 624"/>
                <a:gd name="T1" fmla="*/ 1 h 463"/>
                <a:gd name="T2" fmla="*/ 114 w 624"/>
                <a:gd name="T3" fmla="*/ 14 h 463"/>
                <a:gd name="T4" fmla="*/ 62 w 624"/>
                <a:gd name="T5" fmla="*/ 42 h 463"/>
                <a:gd name="T6" fmla="*/ 27 w 624"/>
                <a:gd name="T7" fmla="*/ 84 h 463"/>
                <a:gd name="T8" fmla="*/ 6 w 624"/>
                <a:gd name="T9" fmla="*/ 138 h 463"/>
                <a:gd name="T10" fmla="*/ 0 w 624"/>
                <a:gd name="T11" fmla="*/ 206 h 463"/>
                <a:gd name="T12" fmla="*/ 1 w 624"/>
                <a:gd name="T13" fmla="*/ 228 h 463"/>
                <a:gd name="T14" fmla="*/ 2 w 624"/>
                <a:gd name="T15" fmla="*/ 249 h 463"/>
                <a:gd name="T16" fmla="*/ 12 w 624"/>
                <a:gd name="T17" fmla="*/ 296 h 463"/>
                <a:gd name="T18" fmla="*/ 32 w 624"/>
                <a:gd name="T19" fmla="*/ 337 h 463"/>
                <a:gd name="T20" fmla="*/ 63 w 624"/>
                <a:gd name="T21" fmla="*/ 372 h 463"/>
                <a:gd name="T22" fmla="*/ 108 w 624"/>
                <a:gd name="T23" fmla="*/ 395 h 463"/>
                <a:gd name="T24" fmla="*/ 168 w 624"/>
                <a:gd name="T25" fmla="*/ 409 h 463"/>
                <a:gd name="T26" fmla="*/ 260 w 624"/>
                <a:gd name="T27" fmla="*/ 411 h 463"/>
                <a:gd name="T28" fmla="*/ 363 w 624"/>
                <a:gd name="T29" fmla="*/ 411 h 463"/>
                <a:gd name="T30" fmla="*/ 456 w 624"/>
                <a:gd name="T31" fmla="*/ 409 h 463"/>
                <a:gd name="T32" fmla="*/ 516 w 624"/>
                <a:gd name="T33" fmla="*/ 395 h 463"/>
                <a:gd name="T34" fmla="*/ 560 w 624"/>
                <a:gd name="T35" fmla="*/ 372 h 463"/>
                <a:gd name="T36" fmla="*/ 591 w 624"/>
                <a:gd name="T37" fmla="*/ 337 h 463"/>
                <a:gd name="T38" fmla="*/ 619 w 624"/>
                <a:gd name="T39" fmla="*/ 262 h 463"/>
                <a:gd name="T40" fmla="*/ 621 w 624"/>
                <a:gd name="T41" fmla="*/ 242 h 463"/>
                <a:gd name="T42" fmla="*/ 624 w 624"/>
                <a:gd name="T43" fmla="*/ 221 h 463"/>
                <a:gd name="T44" fmla="*/ 623 w 624"/>
                <a:gd name="T45" fmla="*/ 182 h 463"/>
                <a:gd name="T46" fmla="*/ 612 w 624"/>
                <a:gd name="T47" fmla="*/ 119 h 463"/>
                <a:gd name="T48" fmla="*/ 587 w 624"/>
                <a:gd name="T49" fmla="*/ 67 h 463"/>
                <a:gd name="T50" fmla="*/ 545 w 624"/>
                <a:gd name="T51" fmla="*/ 31 h 463"/>
                <a:gd name="T52" fmla="*/ 488 w 624"/>
                <a:gd name="T53" fmla="*/ 9 h 463"/>
                <a:gd name="T54" fmla="*/ 412 w 624"/>
                <a:gd name="T55" fmla="*/ 0 h 463"/>
                <a:gd name="T56" fmla="*/ 191 w 624"/>
                <a:gd name="T57" fmla="*/ 326 h 463"/>
                <a:gd name="T58" fmla="*/ 153 w 624"/>
                <a:gd name="T59" fmla="*/ 317 h 463"/>
                <a:gd name="T60" fmla="*/ 134 w 624"/>
                <a:gd name="T61" fmla="*/ 305 h 463"/>
                <a:gd name="T62" fmla="*/ 119 w 624"/>
                <a:gd name="T63" fmla="*/ 289 h 463"/>
                <a:gd name="T64" fmla="*/ 108 w 624"/>
                <a:gd name="T65" fmla="*/ 270 h 463"/>
                <a:gd name="T66" fmla="*/ 102 w 624"/>
                <a:gd name="T67" fmla="*/ 251 h 463"/>
                <a:gd name="T68" fmla="*/ 99 w 624"/>
                <a:gd name="T69" fmla="*/ 229 h 463"/>
                <a:gd name="T70" fmla="*/ 99 w 624"/>
                <a:gd name="T71" fmla="*/ 206 h 463"/>
                <a:gd name="T72" fmla="*/ 115 w 624"/>
                <a:gd name="T73" fmla="*/ 130 h 463"/>
                <a:gd name="T74" fmla="*/ 134 w 624"/>
                <a:gd name="T75" fmla="*/ 106 h 463"/>
                <a:gd name="T76" fmla="*/ 158 w 624"/>
                <a:gd name="T77" fmla="*/ 92 h 463"/>
                <a:gd name="T78" fmla="*/ 260 w 624"/>
                <a:gd name="T79" fmla="*/ 85 h 463"/>
                <a:gd name="T80" fmla="*/ 516 w 624"/>
                <a:gd name="T81" fmla="*/ 270 h 463"/>
                <a:gd name="T82" fmla="*/ 505 w 624"/>
                <a:gd name="T83" fmla="*/ 289 h 463"/>
                <a:gd name="T84" fmla="*/ 489 w 624"/>
                <a:gd name="T85" fmla="*/ 305 h 463"/>
                <a:gd name="T86" fmla="*/ 470 w 624"/>
                <a:gd name="T87" fmla="*/ 317 h 463"/>
                <a:gd name="T88" fmla="*/ 433 w 624"/>
                <a:gd name="T89" fmla="*/ 326 h 463"/>
                <a:gd name="T90" fmla="*/ 363 w 624"/>
                <a:gd name="T91" fmla="*/ 85 h 463"/>
                <a:gd name="T92" fmla="*/ 465 w 624"/>
                <a:gd name="T93" fmla="*/ 92 h 463"/>
                <a:gd name="T94" fmla="*/ 489 w 624"/>
                <a:gd name="T95" fmla="*/ 106 h 463"/>
                <a:gd name="T96" fmla="*/ 508 w 624"/>
                <a:gd name="T97" fmla="*/ 130 h 463"/>
                <a:gd name="T98" fmla="*/ 524 w 624"/>
                <a:gd name="T99" fmla="*/ 206 h 463"/>
                <a:gd name="T100" fmla="*/ 523 w 624"/>
                <a:gd name="T101" fmla="*/ 229 h 463"/>
                <a:gd name="T102" fmla="*/ 522 w 624"/>
                <a:gd name="T103" fmla="*/ 251 h 463"/>
                <a:gd name="T104" fmla="*/ 518 w 624"/>
                <a:gd name="T105" fmla="*/ 264 h 463"/>
                <a:gd name="T106" fmla="*/ 518 w 624"/>
                <a:gd name="T107" fmla="*/ 264 h 463"/>
                <a:gd name="T108" fmla="*/ 518 w 624"/>
                <a:gd name="T109" fmla="*/ 262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24" h="463" fill="norm" stroke="1" extrusionOk="0">
                  <a:moveTo>
                    <a:pt x="412" y="0"/>
                  </a:moveTo>
                  <a:lnTo>
                    <a:pt x="210" y="0"/>
                  </a:lnTo>
                  <a:lnTo>
                    <a:pt x="183" y="1"/>
                  </a:lnTo>
                  <a:lnTo>
                    <a:pt x="158" y="4"/>
                  </a:lnTo>
                  <a:lnTo>
                    <a:pt x="135" y="9"/>
                  </a:lnTo>
                  <a:lnTo>
                    <a:pt x="114" y="14"/>
                  </a:lnTo>
                  <a:lnTo>
                    <a:pt x="95" y="21"/>
                  </a:lnTo>
                  <a:lnTo>
                    <a:pt x="78" y="31"/>
                  </a:lnTo>
                  <a:lnTo>
                    <a:pt x="62" y="42"/>
                  </a:lnTo>
                  <a:lnTo>
                    <a:pt x="49" y="55"/>
                  </a:lnTo>
                  <a:lnTo>
                    <a:pt x="37" y="67"/>
                  </a:lnTo>
                  <a:lnTo>
                    <a:pt x="27" y="84"/>
                  </a:lnTo>
                  <a:lnTo>
                    <a:pt x="18" y="101"/>
                  </a:lnTo>
                  <a:lnTo>
                    <a:pt x="12" y="119"/>
                  </a:lnTo>
                  <a:lnTo>
                    <a:pt x="6" y="138"/>
                  </a:lnTo>
                  <a:lnTo>
                    <a:pt x="3" y="160"/>
                  </a:lnTo>
                  <a:lnTo>
                    <a:pt x="1" y="182"/>
                  </a:lnTo>
                  <a:lnTo>
                    <a:pt x="0" y="206"/>
                  </a:lnTo>
                  <a:lnTo>
                    <a:pt x="0" y="213"/>
                  </a:lnTo>
                  <a:lnTo>
                    <a:pt x="0" y="221"/>
                  </a:lnTo>
                  <a:lnTo>
                    <a:pt x="1" y="228"/>
                  </a:lnTo>
                  <a:lnTo>
                    <a:pt x="1" y="236"/>
                  </a:lnTo>
                  <a:lnTo>
                    <a:pt x="2" y="242"/>
                  </a:lnTo>
                  <a:lnTo>
                    <a:pt x="2" y="249"/>
                  </a:lnTo>
                  <a:lnTo>
                    <a:pt x="3" y="256"/>
                  </a:lnTo>
                  <a:lnTo>
                    <a:pt x="4" y="262"/>
                  </a:lnTo>
                  <a:lnTo>
                    <a:pt x="12" y="296"/>
                  </a:lnTo>
                  <a:lnTo>
                    <a:pt x="17" y="311"/>
                  </a:lnTo>
                  <a:lnTo>
                    <a:pt x="24" y="325"/>
                  </a:lnTo>
                  <a:lnTo>
                    <a:pt x="32" y="337"/>
                  </a:lnTo>
                  <a:lnTo>
                    <a:pt x="41" y="350"/>
                  </a:lnTo>
                  <a:lnTo>
                    <a:pt x="52" y="361"/>
                  </a:lnTo>
                  <a:lnTo>
                    <a:pt x="63" y="372"/>
                  </a:lnTo>
                  <a:lnTo>
                    <a:pt x="77" y="380"/>
                  </a:lnTo>
                  <a:lnTo>
                    <a:pt x="91" y="389"/>
                  </a:lnTo>
                  <a:lnTo>
                    <a:pt x="108" y="395"/>
                  </a:lnTo>
                  <a:lnTo>
                    <a:pt x="126" y="402"/>
                  </a:lnTo>
                  <a:lnTo>
                    <a:pt x="146" y="406"/>
                  </a:lnTo>
                  <a:lnTo>
                    <a:pt x="168" y="409"/>
                  </a:lnTo>
                  <a:lnTo>
                    <a:pt x="191" y="411"/>
                  </a:lnTo>
                  <a:lnTo>
                    <a:pt x="217" y="411"/>
                  </a:lnTo>
                  <a:lnTo>
                    <a:pt x="260" y="411"/>
                  </a:lnTo>
                  <a:lnTo>
                    <a:pt x="260" y="463"/>
                  </a:lnTo>
                  <a:lnTo>
                    <a:pt x="363" y="463"/>
                  </a:lnTo>
                  <a:lnTo>
                    <a:pt x="363" y="411"/>
                  </a:lnTo>
                  <a:lnTo>
                    <a:pt x="407" y="411"/>
                  </a:lnTo>
                  <a:lnTo>
                    <a:pt x="433" y="411"/>
                  </a:lnTo>
                  <a:lnTo>
                    <a:pt x="456" y="409"/>
                  </a:lnTo>
                  <a:lnTo>
                    <a:pt x="477" y="406"/>
                  </a:lnTo>
                  <a:lnTo>
                    <a:pt x="497" y="402"/>
                  </a:lnTo>
                  <a:lnTo>
                    <a:pt x="516" y="395"/>
                  </a:lnTo>
                  <a:lnTo>
                    <a:pt x="532" y="389"/>
                  </a:lnTo>
                  <a:lnTo>
                    <a:pt x="546" y="380"/>
                  </a:lnTo>
                  <a:lnTo>
                    <a:pt x="560" y="372"/>
                  </a:lnTo>
                  <a:lnTo>
                    <a:pt x="571" y="361"/>
                  </a:lnTo>
                  <a:lnTo>
                    <a:pt x="582" y="350"/>
                  </a:lnTo>
                  <a:lnTo>
                    <a:pt x="591" y="337"/>
                  </a:lnTo>
                  <a:lnTo>
                    <a:pt x="600" y="325"/>
                  </a:lnTo>
                  <a:lnTo>
                    <a:pt x="612" y="296"/>
                  </a:lnTo>
                  <a:lnTo>
                    <a:pt x="619" y="262"/>
                  </a:lnTo>
                  <a:lnTo>
                    <a:pt x="620" y="256"/>
                  </a:lnTo>
                  <a:lnTo>
                    <a:pt x="621" y="249"/>
                  </a:lnTo>
                  <a:lnTo>
                    <a:pt x="621" y="242"/>
                  </a:lnTo>
                  <a:lnTo>
                    <a:pt x="623" y="236"/>
                  </a:lnTo>
                  <a:lnTo>
                    <a:pt x="623" y="228"/>
                  </a:lnTo>
                  <a:lnTo>
                    <a:pt x="624" y="221"/>
                  </a:lnTo>
                  <a:lnTo>
                    <a:pt x="624" y="213"/>
                  </a:lnTo>
                  <a:lnTo>
                    <a:pt x="624" y="206"/>
                  </a:lnTo>
                  <a:lnTo>
                    <a:pt x="623" y="182"/>
                  </a:lnTo>
                  <a:lnTo>
                    <a:pt x="620" y="160"/>
                  </a:lnTo>
                  <a:lnTo>
                    <a:pt x="617" y="138"/>
                  </a:lnTo>
                  <a:lnTo>
                    <a:pt x="612" y="119"/>
                  </a:lnTo>
                  <a:lnTo>
                    <a:pt x="605" y="101"/>
                  </a:lnTo>
                  <a:lnTo>
                    <a:pt x="596" y="84"/>
                  </a:lnTo>
                  <a:lnTo>
                    <a:pt x="587" y="67"/>
                  </a:lnTo>
                  <a:lnTo>
                    <a:pt x="575" y="55"/>
                  </a:lnTo>
                  <a:lnTo>
                    <a:pt x="560" y="42"/>
                  </a:lnTo>
                  <a:lnTo>
                    <a:pt x="545" y="31"/>
                  </a:lnTo>
                  <a:lnTo>
                    <a:pt x="528" y="21"/>
                  </a:lnTo>
                  <a:lnTo>
                    <a:pt x="509" y="14"/>
                  </a:lnTo>
                  <a:lnTo>
                    <a:pt x="488" y="9"/>
                  </a:lnTo>
                  <a:lnTo>
                    <a:pt x="464" y="4"/>
                  </a:lnTo>
                  <a:lnTo>
                    <a:pt x="439" y="1"/>
                  </a:lnTo>
                  <a:lnTo>
                    <a:pt x="412" y="0"/>
                  </a:lnTo>
                  <a:close/>
                  <a:moveTo>
                    <a:pt x="260" y="327"/>
                  </a:moveTo>
                  <a:lnTo>
                    <a:pt x="215" y="327"/>
                  </a:lnTo>
                  <a:lnTo>
                    <a:pt x="191" y="326"/>
                  </a:lnTo>
                  <a:lnTo>
                    <a:pt x="170" y="322"/>
                  </a:lnTo>
                  <a:lnTo>
                    <a:pt x="161" y="320"/>
                  </a:lnTo>
                  <a:lnTo>
                    <a:pt x="153" y="317"/>
                  </a:lnTo>
                  <a:lnTo>
                    <a:pt x="146" y="314"/>
                  </a:lnTo>
                  <a:lnTo>
                    <a:pt x="139" y="310"/>
                  </a:lnTo>
                  <a:lnTo>
                    <a:pt x="134" y="305"/>
                  </a:lnTo>
                  <a:lnTo>
                    <a:pt x="128" y="300"/>
                  </a:lnTo>
                  <a:lnTo>
                    <a:pt x="123" y="295"/>
                  </a:lnTo>
                  <a:lnTo>
                    <a:pt x="119" y="289"/>
                  </a:lnTo>
                  <a:lnTo>
                    <a:pt x="115" y="283"/>
                  </a:lnTo>
                  <a:lnTo>
                    <a:pt x="111" y="276"/>
                  </a:lnTo>
                  <a:lnTo>
                    <a:pt x="108" y="270"/>
                  </a:lnTo>
                  <a:lnTo>
                    <a:pt x="105" y="262"/>
                  </a:lnTo>
                  <a:lnTo>
                    <a:pt x="103" y="256"/>
                  </a:lnTo>
                  <a:lnTo>
                    <a:pt x="102" y="251"/>
                  </a:lnTo>
                  <a:lnTo>
                    <a:pt x="101" y="243"/>
                  </a:lnTo>
                  <a:lnTo>
                    <a:pt x="100" y="237"/>
                  </a:lnTo>
                  <a:lnTo>
                    <a:pt x="99" y="229"/>
                  </a:lnTo>
                  <a:lnTo>
                    <a:pt x="99" y="222"/>
                  </a:lnTo>
                  <a:lnTo>
                    <a:pt x="99" y="214"/>
                  </a:lnTo>
                  <a:lnTo>
                    <a:pt x="99" y="206"/>
                  </a:lnTo>
                  <a:lnTo>
                    <a:pt x="101" y="177"/>
                  </a:lnTo>
                  <a:lnTo>
                    <a:pt x="107" y="151"/>
                  </a:lnTo>
                  <a:lnTo>
                    <a:pt x="115" y="130"/>
                  </a:lnTo>
                  <a:lnTo>
                    <a:pt x="121" y="121"/>
                  </a:lnTo>
                  <a:lnTo>
                    <a:pt x="126" y="114"/>
                  </a:lnTo>
                  <a:lnTo>
                    <a:pt x="134" y="106"/>
                  </a:lnTo>
                  <a:lnTo>
                    <a:pt x="141" y="101"/>
                  </a:lnTo>
                  <a:lnTo>
                    <a:pt x="149" y="95"/>
                  </a:lnTo>
                  <a:lnTo>
                    <a:pt x="158" y="92"/>
                  </a:lnTo>
                  <a:lnTo>
                    <a:pt x="177" y="87"/>
                  </a:lnTo>
                  <a:lnTo>
                    <a:pt x="198" y="85"/>
                  </a:lnTo>
                  <a:lnTo>
                    <a:pt x="260" y="85"/>
                  </a:lnTo>
                  <a:lnTo>
                    <a:pt x="260" y="327"/>
                  </a:lnTo>
                  <a:close/>
                  <a:moveTo>
                    <a:pt x="518" y="262"/>
                  </a:moveTo>
                  <a:lnTo>
                    <a:pt x="516" y="270"/>
                  </a:lnTo>
                  <a:lnTo>
                    <a:pt x="512" y="276"/>
                  </a:lnTo>
                  <a:lnTo>
                    <a:pt x="508" y="283"/>
                  </a:lnTo>
                  <a:lnTo>
                    <a:pt x="505" y="289"/>
                  </a:lnTo>
                  <a:lnTo>
                    <a:pt x="500" y="295"/>
                  </a:lnTo>
                  <a:lnTo>
                    <a:pt x="495" y="300"/>
                  </a:lnTo>
                  <a:lnTo>
                    <a:pt x="489" y="305"/>
                  </a:lnTo>
                  <a:lnTo>
                    <a:pt x="484" y="310"/>
                  </a:lnTo>
                  <a:lnTo>
                    <a:pt x="477" y="314"/>
                  </a:lnTo>
                  <a:lnTo>
                    <a:pt x="470" y="317"/>
                  </a:lnTo>
                  <a:lnTo>
                    <a:pt x="462" y="320"/>
                  </a:lnTo>
                  <a:lnTo>
                    <a:pt x="453" y="322"/>
                  </a:lnTo>
                  <a:lnTo>
                    <a:pt x="433" y="326"/>
                  </a:lnTo>
                  <a:lnTo>
                    <a:pt x="409" y="327"/>
                  </a:lnTo>
                  <a:lnTo>
                    <a:pt x="363" y="327"/>
                  </a:lnTo>
                  <a:lnTo>
                    <a:pt x="363" y="85"/>
                  </a:lnTo>
                  <a:lnTo>
                    <a:pt x="425" y="85"/>
                  </a:lnTo>
                  <a:lnTo>
                    <a:pt x="446" y="87"/>
                  </a:lnTo>
                  <a:lnTo>
                    <a:pt x="465" y="92"/>
                  </a:lnTo>
                  <a:lnTo>
                    <a:pt x="474" y="95"/>
                  </a:lnTo>
                  <a:lnTo>
                    <a:pt x="482" y="101"/>
                  </a:lnTo>
                  <a:lnTo>
                    <a:pt x="489" y="106"/>
                  </a:lnTo>
                  <a:lnTo>
                    <a:pt x="497" y="114"/>
                  </a:lnTo>
                  <a:lnTo>
                    <a:pt x="503" y="121"/>
                  </a:lnTo>
                  <a:lnTo>
                    <a:pt x="508" y="130"/>
                  </a:lnTo>
                  <a:lnTo>
                    <a:pt x="517" y="151"/>
                  </a:lnTo>
                  <a:lnTo>
                    <a:pt x="522" y="177"/>
                  </a:lnTo>
                  <a:lnTo>
                    <a:pt x="524" y="206"/>
                  </a:lnTo>
                  <a:lnTo>
                    <a:pt x="524" y="214"/>
                  </a:lnTo>
                  <a:lnTo>
                    <a:pt x="524" y="222"/>
                  </a:lnTo>
                  <a:lnTo>
                    <a:pt x="523" y="229"/>
                  </a:lnTo>
                  <a:lnTo>
                    <a:pt x="523" y="237"/>
                  </a:lnTo>
                  <a:lnTo>
                    <a:pt x="522" y="243"/>
                  </a:lnTo>
                  <a:lnTo>
                    <a:pt x="522" y="251"/>
                  </a:lnTo>
                  <a:lnTo>
                    <a:pt x="520" y="256"/>
                  </a:lnTo>
                  <a:lnTo>
                    <a:pt x="518" y="262"/>
                  </a:lnTo>
                  <a:lnTo>
                    <a:pt x="518" y="264"/>
                  </a:lnTo>
                  <a:lnTo>
                    <a:pt x="518" y="265"/>
                  </a:lnTo>
                  <a:lnTo>
                    <a:pt x="518" y="264"/>
                  </a:lnTo>
                  <a:lnTo>
                    <a:pt x="518" y="264"/>
                  </a:lnTo>
                  <a:lnTo>
                    <a:pt x="518" y="262"/>
                  </a:lnTo>
                  <a:lnTo>
                    <a:pt x="519" y="262"/>
                  </a:lnTo>
                  <a:lnTo>
                    <a:pt x="518" y="26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/>
            </a:bodyPr>
            <a:lstStyle/>
            <a:p>
              <a:pPr defTabSz="804864">
                <a:defRPr/>
              </a:pPr>
              <a:endParaRPr lang="ru-RU" sz="1600">
                <a:solidFill>
                  <a:prstClr val="black"/>
                </a:solidFill>
              </a:endParaRPr>
            </a:p>
          </p:txBody>
        </p:sp>
      </p:grpSp>
      <p:sp>
        <p:nvSpPr>
          <p:cNvPr id="23" name="Овал 10"/>
          <p:cNvSpPr/>
          <p:nvPr userDrawn="1"/>
        </p:nvSpPr>
        <p:spPr bwMode="auto">
          <a:xfrm>
            <a:off x="7163076" y="511701"/>
            <a:ext cx="1495385" cy="121537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490" tIns="0" rIns="80490" bIns="40245" rtlCol="0" anchor="ctr"/>
          <a:lstStyle/>
          <a:p>
            <a:pPr algn="ctr" defTabSz="804864">
              <a:defRPr/>
            </a:pPr>
            <a:endParaRPr lang="ru-RU" sz="7050">
              <a:solidFill>
                <a:prstClr val="white"/>
              </a:solidFill>
            </a:endParaRPr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7172712" y="511701"/>
            <a:ext cx="1484930" cy="1296877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7050">
                <a:solidFill>
                  <a:schemeClr val="bg1"/>
                </a:solidFill>
              </a:defRPr>
            </a:lvl1pPr>
          </a:lstStyle>
          <a:p>
            <a:pPr lvl="0">
              <a:defRPr/>
            </a:pPr>
            <a:r>
              <a:rPr lang="en-US"/>
              <a:t>1</a:t>
            </a:r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Agenda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>
            <a:lvl1pPr>
              <a:defRPr sz="4000">
                <a:latin typeface="Arial Black"/>
              </a:defRPr>
            </a:lvl1pPr>
          </a:lstStyle>
          <a:p>
            <a:pPr>
              <a:defRPr/>
            </a:pPr>
            <a:r>
              <a:rPr lang="ru-RU"/>
              <a:t>Agenda (40pt)</a:t>
            </a:r>
            <a:endParaRPr lang="ru-RU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292100" y="1385888"/>
            <a:ext cx="8564400" cy="2967037"/>
          </a:xfrm>
        </p:spPr>
        <p:txBody>
          <a:bodyPr/>
          <a:lstStyle>
            <a:lvl1pPr marL="342900" marR="0" indent="-342900" algn="l" defTabSz="68580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defRPr sz="2000"/>
            </a:lvl1pPr>
          </a:lstStyle>
          <a:p>
            <a:pPr lvl="0">
              <a:defRPr/>
            </a:pPr>
            <a:r>
              <a:rPr lang="ru-RU"/>
              <a:t>Lorem ipsum Ed ut perspiciatis unde omnis iste na (20pt)</a:t>
            </a:r>
            <a:endParaRPr/>
          </a:p>
          <a:p>
            <a:pPr lvl="0">
              <a:defRPr/>
            </a:pPr>
            <a:r>
              <a:rPr lang="ru-RU"/>
              <a:t>Lorem ipsum Ed ut perspiciatis unde omnis iste na</a:t>
            </a:r>
            <a:endParaRPr/>
          </a:p>
          <a:p>
            <a:pPr lvl="0">
              <a:defRPr/>
            </a:pPr>
            <a:r>
              <a:rPr lang="ru-RU"/>
              <a:t>Lorem ipsum Ed ut perspiciatis unde omnis iste na</a:t>
            </a:r>
            <a:endParaRPr/>
          </a:p>
          <a:p>
            <a:pPr lvl="0">
              <a:defRPr/>
            </a:pPr>
            <a:r>
              <a:rPr lang="ru-RU"/>
              <a:t>Lorem ipsum Ed ut perspiciatis unde omnis iste na</a:t>
            </a:r>
            <a:endParaRPr/>
          </a:p>
          <a:p>
            <a:pPr lvl="0">
              <a:defRPr/>
            </a:pPr>
            <a:r>
              <a:rPr lang="ru-RU"/>
              <a:t>Lorem ipsum Ed ut perspiciatis unde omnis iste na</a:t>
            </a:r>
            <a:endParaRPr/>
          </a:p>
          <a:p>
            <a:pPr lvl="0">
              <a:defRPr/>
            </a:pPr>
            <a:r>
              <a:rPr lang="ru-RU"/>
              <a:t>Lorem ipsum Ed ut perspiciatis unde omnis iste na</a:t>
            </a:r>
            <a:endParaRPr/>
          </a:p>
          <a:p>
            <a:pPr lvl="0">
              <a:defRPr/>
            </a:pPr>
            <a:r>
              <a:rPr lang="ru-RU"/>
              <a:t>Lorem ipsum Ed ut perspiciatis unde omnis iste na</a:t>
            </a:r>
            <a:endParaRPr/>
          </a:p>
          <a:p>
            <a:pPr lvl="0">
              <a:defRPr/>
            </a:pPr>
            <a:r>
              <a:rPr lang="ru-RU"/>
              <a:t>Lorem ipsum Ed ut perspiciatis unde omnis iste na</a:t>
            </a:r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0" userDrawn="1">
  <p:cSld name="Chapter green">
    <p:bg>
      <p:bgPr shadeToTitle="0">
        <a:solidFill>
          <a:schemeClr val="accent1"/>
        </a:solidFill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291600" y="1908000"/>
            <a:ext cx="8564400" cy="1148296"/>
          </a:xfrm>
        </p:spPr>
        <p:txBody>
          <a:bodyPr/>
          <a:lstStyle>
            <a:lvl1pPr>
              <a:defRPr sz="4000" b="0">
                <a:solidFill>
                  <a:schemeClr val="bg1"/>
                </a:solidFill>
                <a:latin typeface="Arial Black"/>
              </a:defRPr>
            </a:lvl1pPr>
          </a:lstStyle>
          <a:p>
            <a:pPr>
              <a:defRPr/>
            </a:pPr>
            <a:r>
              <a:rPr lang="ru-RU"/>
              <a:t>Headline example, </a:t>
            </a:r>
            <a:br>
              <a:rPr lang="ru-RU"/>
            </a:br>
            <a:r>
              <a:rPr lang="ru-RU"/>
              <a:t>in two lines. (40pt)</a:t>
            </a:r>
            <a:endParaRPr lang="ru-RU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3EB3B23D-4346-4B37-B4C1-6F25CC3265AE}" type="datetime1">
              <a:rPr lang="ru-RU"/>
              <a:t/>
            </a:fld>
            <a:endParaRPr lang="ru-RU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ru-RU"/>
              <a:t>MegaFon | Presentation title and subtitle</a:t>
            </a:r>
            <a:endParaRPr lang="ru-RU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F83C6A9-09AF-44EB-BB3F-3943791E8916}" type="slidenum">
              <a:rPr lang="ru-RU"/>
              <a:t/>
            </a:fld>
            <a:endParaRPr lang="ru-RU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292100" y="288924"/>
            <a:ext cx="1041400" cy="1326515"/>
          </a:xfrm>
        </p:spPr>
        <p:txBody>
          <a:bodyPr/>
          <a:lstStyle>
            <a:lvl1pPr>
              <a:defRPr sz="12000">
                <a:latin typeface="Arial Black"/>
              </a:defRPr>
            </a:lvl1pPr>
          </a:lstStyle>
          <a:p>
            <a:pPr lvl="0">
              <a:defRPr/>
            </a:pPr>
            <a:r>
              <a:rPr lang="ru-RU"/>
              <a:t>#</a:t>
            </a:r>
            <a:endParaRPr lang="ru-RU"/>
          </a:p>
        </p:txBody>
      </p:sp>
      <p:grpSp>
        <p:nvGrpSpPr>
          <p:cNvPr id="8" name="Gruppieren 7"/>
          <p:cNvGrpSpPr/>
          <p:nvPr userDrawn="1"/>
        </p:nvGrpSpPr>
        <p:grpSpPr bwMode="auto">
          <a:xfrm>
            <a:off x="8673305" y="4914900"/>
            <a:ext cx="183358" cy="52388"/>
            <a:chOff x="8673305" y="4914900"/>
            <a:chExt cx="183358" cy="52388"/>
          </a:xfrm>
        </p:grpSpPr>
        <p:sp>
          <p:nvSpPr>
            <p:cNvPr id="9" name="Ellipse 8"/>
            <p:cNvSpPr/>
            <p:nvPr userDrawn="1"/>
          </p:nvSpPr>
          <p:spPr bwMode="auto">
            <a:xfrm>
              <a:off x="8804275" y="4914900"/>
              <a:ext cx="52388" cy="523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0" name="Ellipse 9"/>
            <p:cNvSpPr/>
            <p:nvPr userDrawn="1"/>
          </p:nvSpPr>
          <p:spPr bwMode="auto">
            <a:xfrm>
              <a:off x="8738790" y="4914900"/>
              <a:ext cx="52388" cy="523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1" name="Ellipse 10"/>
            <p:cNvSpPr/>
            <p:nvPr userDrawn="1"/>
          </p:nvSpPr>
          <p:spPr bwMode="auto">
            <a:xfrm>
              <a:off x="8673305" y="4914900"/>
              <a:ext cx="52388" cy="523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0" userDrawn="1">
  <p:cSld name="Chapter green Print">
    <p:bg>
      <p:bgPr shadeToTitle="0">
        <a:solidFill>
          <a:schemeClr val="bg1"/>
        </a:solidFill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291600" y="1908000"/>
            <a:ext cx="8564400" cy="1148296"/>
          </a:xfrm>
        </p:spPr>
        <p:txBody>
          <a:bodyPr/>
          <a:lstStyle>
            <a:lvl1pPr>
              <a:defRPr sz="4000" b="0">
                <a:solidFill>
                  <a:schemeClr val="accent1"/>
                </a:solidFill>
                <a:latin typeface="Arial Black"/>
              </a:defRPr>
            </a:lvl1pPr>
          </a:lstStyle>
          <a:p>
            <a:pPr>
              <a:defRPr/>
            </a:pPr>
            <a:r>
              <a:rPr lang="ru-RU"/>
              <a:t>Headline example, </a:t>
            </a:r>
            <a:br>
              <a:rPr lang="ru-RU"/>
            </a:br>
            <a:r>
              <a:rPr lang="ru-RU"/>
              <a:t>in two lines. (40pt) </a:t>
            </a:r>
            <a:endParaRPr lang="ru-RU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3EB3B23D-4346-4B37-B4C1-6F25CC3265AE}" type="datetime1">
              <a:rPr lang="ru-RU"/>
              <a:t/>
            </a:fld>
            <a:endParaRPr lang="ru-RU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ru-RU"/>
              <a:t>MegaFon | Presentation title and subtitle</a:t>
            </a:r>
            <a:endParaRPr lang="ru-RU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0F83C6A9-09AF-44EB-BB3F-3943791E8916}" type="slidenum">
              <a:rPr lang="ru-RU"/>
              <a:t/>
            </a:fld>
            <a:endParaRPr lang="ru-RU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292100" y="288924"/>
            <a:ext cx="1041400" cy="1326515"/>
          </a:xfrm>
        </p:spPr>
        <p:txBody>
          <a:bodyPr/>
          <a:lstStyle>
            <a:lvl1pPr>
              <a:defRPr sz="12000">
                <a:latin typeface="Arial Black"/>
              </a:defRPr>
            </a:lvl1pPr>
          </a:lstStyle>
          <a:p>
            <a:pPr lvl="0">
              <a:defRPr/>
            </a:pPr>
            <a:r>
              <a:rPr lang="ru-RU"/>
              <a:t>#</a:t>
            </a:r>
            <a:endParaRPr lang="ru-RU"/>
          </a:p>
        </p:txBody>
      </p:sp>
      <p:grpSp>
        <p:nvGrpSpPr>
          <p:cNvPr id="12" name="Gruppieren 11"/>
          <p:cNvGrpSpPr/>
          <p:nvPr userDrawn="1"/>
        </p:nvGrpSpPr>
        <p:grpSpPr bwMode="auto">
          <a:xfrm>
            <a:off x="8673305" y="4914900"/>
            <a:ext cx="183358" cy="52388"/>
            <a:chOff x="8673305" y="4914900"/>
            <a:chExt cx="183358" cy="52388"/>
          </a:xfrm>
        </p:grpSpPr>
        <p:sp>
          <p:nvSpPr>
            <p:cNvPr id="13" name="Ellipse 12"/>
            <p:cNvSpPr/>
            <p:nvPr userDrawn="1"/>
          </p:nvSpPr>
          <p:spPr bwMode="auto">
            <a:xfrm>
              <a:off x="8804275" y="4914900"/>
              <a:ext cx="52388" cy="523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4" name="Ellipse 13"/>
            <p:cNvSpPr/>
            <p:nvPr userDrawn="1"/>
          </p:nvSpPr>
          <p:spPr bwMode="auto">
            <a:xfrm>
              <a:off x="8738790" y="4914900"/>
              <a:ext cx="52388" cy="5238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5" name="Ellipse 14"/>
            <p:cNvSpPr/>
            <p:nvPr userDrawn="1"/>
          </p:nvSpPr>
          <p:spPr bwMode="auto">
            <a:xfrm>
              <a:off x="8673305" y="4914900"/>
              <a:ext cx="52388" cy="523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0" userDrawn="1">
  <p:cSld name="Chapter violet">
    <p:bg>
      <p:bgPr shadeToTitle="0">
        <a:solidFill>
          <a:schemeClr val="accent2"/>
        </a:solidFill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291600" y="1908000"/>
            <a:ext cx="8564400" cy="1148296"/>
          </a:xfrm>
        </p:spPr>
        <p:txBody>
          <a:bodyPr/>
          <a:lstStyle>
            <a:lvl1pPr>
              <a:defRPr sz="4000" b="0">
                <a:solidFill>
                  <a:schemeClr val="bg1"/>
                </a:solidFill>
                <a:latin typeface="Arial Black"/>
              </a:defRPr>
            </a:lvl1pPr>
          </a:lstStyle>
          <a:p>
            <a:pPr>
              <a:defRPr/>
            </a:pPr>
            <a:r>
              <a:rPr lang="ru-RU"/>
              <a:t>Headline example, </a:t>
            </a:r>
            <a:br>
              <a:rPr lang="ru-RU"/>
            </a:br>
            <a:r>
              <a:rPr lang="ru-RU"/>
              <a:t>in two lines. (40pt)</a:t>
            </a:r>
            <a:endParaRPr lang="ru-RU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3EB3B23D-4346-4B37-B4C1-6F25CC3265AE}" type="datetime1">
              <a:rPr lang="ru-RU"/>
              <a:t/>
            </a:fld>
            <a:endParaRPr lang="ru-RU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ru-RU"/>
              <a:t>MegaFon | Presentation title and subtitle</a:t>
            </a:r>
            <a:endParaRPr lang="ru-RU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F83C6A9-09AF-44EB-BB3F-3943791E8916}" type="slidenum">
              <a:rPr lang="ru-RU"/>
              <a:t/>
            </a:fld>
            <a:endParaRPr lang="ru-RU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292100" y="288924"/>
            <a:ext cx="1041400" cy="1326515"/>
          </a:xfrm>
        </p:spPr>
        <p:txBody>
          <a:bodyPr/>
          <a:lstStyle>
            <a:lvl1pPr>
              <a:defRPr sz="12000">
                <a:latin typeface="Arial Black"/>
              </a:defRPr>
            </a:lvl1pPr>
          </a:lstStyle>
          <a:p>
            <a:pPr lvl="0">
              <a:defRPr/>
            </a:pPr>
            <a:r>
              <a:rPr lang="ru-RU"/>
              <a:t>#</a:t>
            </a:r>
            <a:endParaRPr lang="ru-RU"/>
          </a:p>
        </p:txBody>
      </p:sp>
      <p:grpSp>
        <p:nvGrpSpPr>
          <p:cNvPr id="8" name="Gruppieren 7"/>
          <p:cNvGrpSpPr/>
          <p:nvPr userDrawn="1"/>
        </p:nvGrpSpPr>
        <p:grpSpPr bwMode="auto">
          <a:xfrm>
            <a:off x="8673305" y="4914900"/>
            <a:ext cx="183358" cy="52388"/>
            <a:chOff x="8673305" y="4914900"/>
            <a:chExt cx="183358" cy="52388"/>
          </a:xfrm>
        </p:grpSpPr>
        <p:sp>
          <p:nvSpPr>
            <p:cNvPr id="9" name="Ellipse 8"/>
            <p:cNvSpPr/>
            <p:nvPr userDrawn="1"/>
          </p:nvSpPr>
          <p:spPr bwMode="auto">
            <a:xfrm>
              <a:off x="8804275" y="4914900"/>
              <a:ext cx="52388" cy="523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0" name="Ellipse 9"/>
            <p:cNvSpPr/>
            <p:nvPr userDrawn="1"/>
          </p:nvSpPr>
          <p:spPr bwMode="auto">
            <a:xfrm>
              <a:off x="8738790" y="4914900"/>
              <a:ext cx="52388" cy="523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1" name="Ellipse 10"/>
            <p:cNvSpPr/>
            <p:nvPr userDrawn="1"/>
          </p:nvSpPr>
          <p:spPr bwMode="auto">
            <a:xfrm>
              <a:off x="8673305" y="4914900"/>
              <a:ext cx="52388" cy="523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0" userDrawn="1">
  <p:cSld name="Chapter violet Print">
    <p:bg>
      <p:bgPr shadeToTitle="0">
        <a:solidFill>
          <a:schemeClr val="bg1"/>
        </a:solidFill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291600" y="1908000"/>
            <a:ext cx="8564400" cy="1148296"/>
          </a:xfrm>
        </p:spPr>
        <p:txBody>
          <a:bodyPr/>
          <a:lstStyle>
            <a:lvl1pPr>
              <a:defRPr sz="4000" b="0">
                <a:solidFill>
                  <a:schemeClr val="accent2"/>
                </a:solidFill>
                <a:latin typeface="Arial Black"/>
              </a:defRPr>
            </a:lvl1pPr>
          </a:lstStyle>
          <a:p>
            <a:pPr>
              <a:defRPr/>
            </a:pPr>
            <a:r>
              <a:rPr lang="ru-RU"/>
              <a:t>Headline example, </a:t>
            </a:r>
            <a:br>
              <a:rPr lang="ru-RU"/>
            </a:br>
            <a:r>
              <a:rPr lang="ru-RU"/>
              <a:t>in two lines. (40pt)</a:t>
            </a:r>
            <a:endParaRPr lang="ru-RU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3EB3B23D-4346-4B37-B4C1-6F25CC3265AE}" type="datetime1">
              <a:rPr lang="ru-RU"/>
              <a:t/>
            </a:fld>
            <a:endParaRPr lang="ru-RU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ru-RU"/>
              <a:t>MegaFon | Presentation title and subtitle</a:t>
            </a:r>
            <a:endParaRPr lang="ru-RU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0F83C6A9-09AF-44EB-BB3F-3943791E8916}" type="slidenum">
              <a:rPr lang="ru-RU"/>
              <a:t/>
            </a:fld>
            <a:endParaRPr lang="ru-RU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292100" y="288924"/>
            <a:ext cx="1041400" cy="1326515"/>
          </a:xfrm>
        </p:spPr>
        <p:txBody>
          <a:bodyPr/>
          <a:lstStyle>
            <a:lvl1pPr>
              <a:defRPr sz="12000">
                <a:latin typeface="Arial Black"/>
              </a:defRPr>
            </a:lvl1pPr>
          </a:lstStyle>
          <a:p>
            <a:pPr lvl="0">
              <a:defRPr/>
            </a:pPr>
            <a:r>
              <a:rPr lang="ru-RU"/>
              <a:t>#</a:t>
            </a:r>
            <a:endParaRPr lang="ru-RU"/>
          </a:p>
        </p:txBody>
      </p:sp>
      <p:grpSp>
        <p:nvGrpSpPr>
          <p:cNvPr id="12" name="Gruppieren 11"/>
          <p:cNvGrpSpPr/>
          <p:nvPr userDrawn="1"/>
        </p:nvGrpSpPr>
        <p:grpSpPr bwMode="auto">
          <a:xfrm>
            <a:off x="8673305" y="4914900"/>
            <a:ext cx="183358" cy="52388"/>
            <a:chOff x="8673305" y="4914900"/>
            <a:chExt cx="183358" cy="52388"/>
          </a:xfrm>
        </p:grpSpPr>
        <p:sp>
          <p:nvSpPr>
            <p:cNvPr id="13" name="Ellipse 12"/>
            <p:cNvSpPr/>
            <p:nvPr userDrawn="1"/>
          </p:nvSpPr>
          <p:spPr bwMode="auto">
            <a:xfrm>
              <a:off x="8804275" y="4914900"/>
              <a:ext cx="52388" cy="523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4" name="Ellipse 13"/>
            <p:cNvSpPr/>
            <p:nvPr userDrawn="1"/>
          </p:nvSpPr>
          <p:spPr bwMode="auto">
            <a:xfrm>
              <a:off x="8738790" y="4914900"/>
              <a:ext cx="52388" cy="5238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5" name="Ellipse 14"/>
            <p:cNvSpPr/>
            <p:nvPr userDrawn="1"/>
          </p:nvSpPr>
          <p:spPr bwMode="auto">
            <a:xfrm>
              <a:off x="8673305" y="4914900"/>
              <a:ext cx="52388" cy="523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</p:grp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Content - Full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Headline example (20pt), </a:t>
            </a:r>
            <a:br>
              <a:rPr lang="ru-RU"/>
            </a:br>
            <a:r>
              <a:rPr lang="ru-RU"/>
              <a:t>in two lines. </a:t>
            </a:r>
            <a:endParaRPr lang="ru-RU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674B3F40-B636-4A54-94B5-10F6B2452C89}" type="datetime1">
              <a:rPr lang="ru-RU"/>
              <a:t/>
            </a:fld>
            <a:endParaRPr lang="ru-RU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MegaFon | Presentation title and subtitle</a:t>
            </a:r>
            <a:endParaRPr lang="ru-RU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0F83C6A9-09AF-44EB-BB3F-3943791E8916}" type="slidenum">
              <a:rPr lang="ru-RU"/>
              <a:t/>
            </a:fld>
            <a:endParaRPr lang="ru-RU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auto">
          <a:xfrm>
            <a:off x="292100" y="1276350"/>
            <a:ext cx="8564400" cy="3077538"/>
          </a:xfrm>
        </p:spPr>
        <p:txBody>
          <a:bodyPr/>
          <a:lstStyle/>
          <a:p>
            <a:pPr lvl="0">
              <a:defRPr/>
            </a:pPr>
            <a:r>
              <a:rPr lang="ru-RU"/>
              <a:t>Edit flowing text level 12pt to (16pt)</a:t>
            </a:r>
            <a:endParaRPr/>
          </a:p>
          <a:p>
            <a:pPr lvl="1">
              <a:defRPr/>
            </a:pPr>
            <a:r>
              <a:rPr lang="ru-RU"/>
              <a:t>Second level</a:t>
            </a:r>
            <a:endParaRPr/>
          </a:p>
          <a:p>
            <a:pPr lvl="2">
              <a:defRPr/>
            </a:pPr>
            <a:r>
              <a:rPr lang="ru-RU"/>
              <a:t>Third level</a:t>
            </a:r>
            <a:endParaRPr/>
          </a:p>
          <a:p>
            <a:pPr lvl="3">
              <a:defRPr/>
            </a:pPr>
            <a:r>
              <a:rPr lang="ru-RU"/>
              <a:t>Fourth level</a:t>
            </a:r>
            <a:endParaRPr/>
          </a:p>
          <a:p>
            <a:pPr lvl="4">
              <a:defRPr/>
            </a:pPr>
            <a:r>
              <a:rPr lang="ru-RU"/>
              <a:t>Fifth level</a:t>
            </a:r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Content - two columns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291600" y="252000"/>
            <a:ext cx="8564400" cy="590963"/>
          </a:xfrm>
        </p:spPr>
        <p:txBody>
          <a:bodyPr/>
          <a:lstStyle/>
          <a:p>
            <a:pPr>
              <a:defRPr/>
            </a:pPr>
            <a:r>
              <a:rPr lang="ru-RU"/>
              <a:t>Headline example (20pt), </a:t>
            </a:r>
            <a:br>
              <a:rPr lang="ru-RU"/>
            </a:br>
            <a:r>
              <a:rPr lang="ru-RU"/>
              <a:t>in two lines. </a:t>
            </a:r>
            <a:endParaRPr lang="ru-RU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AB92E68E-506B-4910-8CEA-231504A24C3C}" type="datetime1">
              <a:rPr lang="ru-RU"/>
              <a:t/>
            </a:fld>
            <a:endParaRPr lang="ru-RU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MegaFon | Presentation title and subtitle</a:t>
            </a:r>
            <a:endParaRPr lang="ru-RU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0F83C6A9-09AF-44EB-BB3F-3943791E8916}" type="slidenum">
              <a:rPr lang="ru-RU"/>
              <a:t/>
            </a:fld>
            <a:endParaRPr lang="ru-RU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 bwMode="auto">
          <a:xfrm>
            <a:off x="292100" y="1275387"/>
            <a:ext cx="4187825" cy="3077538"/>
          </a:xfrm>
        </p:spPr>
        <p:txBody>
          <a:bodyPr/>
          <a:lstStyle>
            <a:lvl1pPr>
              <a:defRPr/>
            </a:lvl1pPr>
          </a:lstStyle>
          <a:p>
            <a:pPr lvl="0">
              <a:defRPr/>
            </a:pPr>
            <a:r>
              <a:rPr lang="ru-RU"/>
              <a:t>Edit flowing text level 12pt to (16pt) to 32pt</a:t>
            </a:r>
            <a:endParaRPr/>
          </a:p>
          <a:p>
            <a:pPr lvl="1">
              <a:defRPr/>
            </a:pPr>
            <a:r>
              <a:rPr lang="ru-RU"/>
              <a:t>Second level</a:t>
            </a:r>
            <a:endParaRPr/>
          </a:p>
          <a:p>
            <a:pPr lvl="2">
              <a:defRPr/>
            </a:pPr>
            <a:r>
              <a:rPr lang="ru-RU"/>
              <a:t>Third level</a:t>
            </a:r>
            <a:endParaRPr/>
          </a:p>
          <a:p>
            <a:pPr lvl="3">
              <a:defRPr/>
            </a:pPr>
            <a:r>
              <a:rPr lang="ru-RU"/>
              <a:t>Fourth level</a:t>
            </a:r>
            <a:endParaRPr/>
          </a:p>
          <a:p>
            <a:pPr lvl="4">
              <a:defRPr/>
            </a:pPr>
            <a:r>
              <a:rPr lang="ru-RU"/>
              <a:t>Fifth level</a:t>
            </a:r>
            <a:endParaRPr lang="ru-RU"/>
          </a:p>
        </p:txBody>
      </p:sp>
      <p:sp>
        <p:nvSpPr>
          <p:cNvPr id="8" name="Inhaltsplatzhalter 6"/>
          <p:cNvSpPr>
            <a:spLocks noGrp="1"/>
          </p:cNvSpPr>
          <p:nvPr>
            <p:ph sz="quarter" idx="14" hasCustomPrompt="1"/>
          </p:nvPr>
        </p:nvSpPr>
        <p:spPr bwMode="auto">
          <a:xfrm>
            <a:off x="4668175" y="1276350"/>
            <a:ext cx="4187825" cy="3077538"/>
          </a:xfrm>
        </p:spPr>
        <p:txBody>
          <a:bodyPr/>
          <a:lstStyle>
            <a:lvl1pPr>
              <a:defRPr/>
            </a:lvl1pPr>
          </a:lstStyle>
          <a:p>
            <a:pPr lvl="0">
              <a:defRPr/>
            </a:pPr>
            <a:r>
              <a:rPr lang="ru-RU"/>
              <a:t>Edit flowing text level 12pt to (16pt) to 32 pt</a:t>
            </a:r>
            <a:endParaRPr/>
          </a:p>
          <a:p>
            <a:pPr lvl="1">
              <a:defRPr/>
            </a:pPr>
            <a:r>
              <a:rPr lang="ru-RU"/>
              <a:t>Second level</a:t>
            </a:r>
            <a:endParaRPr/>
          </a:p>
          <a:p>
            <a:pPr lvl="2">
              <a:defRPr/>
            </a:pPr>
            <a:r>
              <a:rPr lang="ru-RU"/>
              <a:t>Third level</a:t>
            </a:r>
            <a:endParaRPr/>
          </a:p>
          <a:p>
            <a:pPr lvl="3">
              <a:defRPr/>
            </a:pPr>
            <a:r>
              <a:rPr lang="ru-RU"/>
              <a:t>Fourth level</a:t>
            </a:r>
            <a:endParaRPr/>
          </a:p>
          <a:p>
            <a:pPr lvl="4">
              <a:defRPr/>
            </a:pPr>
            <a:r>
              <a:rPr lang="ru-RU"/>
              <a:t>Fifth level</a:t>
            </a:r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theme" Target="../theme/theme1.xml"/><Relationship Id="rId23" Type="http://schemas.openxmlformats.org/officeDocument/2006/relationships/image" Target="../media/image1.emf"/><Relationship Id="rId2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preserve="0">
  <p:cSld name=""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24" imgW="0" imgH="0" progId="TCLayout.ActiveDocument.1">
              <p:embed/>
              <p:pic>
                <p:nvPicPr>
                  <p:cNvPr id="2" name=""/>
                  <p:cNvPicPr/>
                  <p:nvPr/>
                </p:nvPicPr>
                <p:blipFill>
                  <a:blip r:embed="rId23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8" name="Titelplatzhalter 7"/>
          <p:cNvSpPr>
            <a:spLocks noGrp="1"/>
          </p:cNvSpPr>
          <p:nvPr>
            <p:ph type="title"/>
          </p:nvPr>
        </p:nvSpPr>
        <p:spPr bwMode="auto">
          <a:xfrm>
            <a:off x="291600" y="252000"/>
            <a:ext cx="8564400" cy="5909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>
              <a:defRPr/>
            </a:pPr>
            <a:r>
              <a:rPr lang="ru-RU"/>
              <a:t>Headline example (20pt), Lorem ipsum dolor sit amet, consectetur adipiscing elit ed ut perspiciatis unde omnis iste natus error</a:t>
            </a:r>
            <a:endParaRPr lang="ru-RU"/>
          </a:p>
        </p:txBody>
      </p:sp>
      <p:sp>
        <p:nvSpPr>
          <p:cNvPr id="9" name="Textplatzhalter 8"/>
          <p:cNvSpPr>
            <a:spLocks noGrp="1"/>
          </p:cNvSpPr>
          <p:nvPr>
            <p:ph type="body" idx="1"/>
          </p:nvPr>
        </p:nvSpPr>
        <p:spPr bwMode="auto">
          <a:xfrm>
            <a:off x="292894" y="1276550"/>
            <a:ext cx="8563768" cy="307776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>
              <a:defRPr/>
            </a:pPr>
            <a:r>
              <a:rPr lang="ru-RU"/>
              <a:t>Edit continuous text level 12pt to (16pt)</a:t>
            </a:r>
            <a:endParaRPr/>
          </a:p>
          <a:p>
            <a:pPr lvl="1">
              <a:defRPr/>
            </a:pPr>
            <a:r>
              <a:rPr lang="ru-RU"/>
              <a:t>Second level</a:t>
            </a:r>
            <a:endParaRPr/>
          </a:p>
          <a:p>
            <a:pPr lvl="2">
              <a:defRPr/>
            </a:pPr>
            <a:r>
              <a:rPr lang="ru-RU"/>
              <a:t>Third level</a:t>
            </a:r>
            <a:endParaRPr/>
          </a:p>
          <a:p>
            <a:pPr lvl="3">
              <a:defRPr/>
            </a:pPr>
            <a:r>
              <a:rPr lang="ru-RU"/>
              <a:t>Fourth level</a:t>
            </a:r>
            <a:endParaRPr/>
          </a:p>
          <a:p>
            <a:pPr lvl="4">
              <a:defRPr/>
            </a:pPr>
            <a:r>
              <a:rPr lang="ru-RU"/>
              <a:t>Fifth level</a:t>
            </a:r>
            <a:endParaRPr lang="ru-RU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2"/>
          </p:nvPr>
        </p:nvSpPr>
        <p:spPr bwMode="auto">
          <a:xfrm>
            <a:off x="3206750" y="4786313"/>
            <a:ext cx="786602" cy="17877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3012BC6F-014F-4778-8D5B-605537C49C47}" type="datetime1">
              <a:rPr lang="ru-RU"/>
              <a:t/>
            </a:fld>
            <a:endParaRPr lang="ru-RU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3"/>
          </p:nvPr>
        </p:nvSpPr>
        <p:spPr bwMode="auto">
          <a:xfrm>
            <a:off x="533400" y="4786313"/>
            <a:ext cx="2490788" cy="17877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ru-RU"/>
              <a:t>MegaFon | Presentation title and subtitle</a:t>
            </a:r>
            <a:endParaRPr lang="ru-RU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4"/>
          </p:nvPr>
        </p:nvSpPr>
        <p:spPr bwMode="auto">
          <a:xfrm>
            <a:off x="292893" y="4786313"/>
            <a:ext cx="240507" cy="17877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0F83C6A9-09AF-44EB-BB3F-3943791E8916}" type="slidenum">
              <a:rPr lang="ru-RU"/>
              <a:t/>
            </a:fld>
            <a:endParaRPr lang="ru-RU"/>
          </a:p>
        </p:txBody>
      </p:sp>
      <p:grpSp>
        <p:nvGrpSpPr>
          <p:cNvPr id="6" name="Gruppieren 5"/>
          <p:cNvGrpSpPr/>
          <p:nvPr userDrawn="1"/>
        </p:nvGrpSpPr>
        <p:grpSpPr bwMode="auto">
          <a:xfrm>
            <a:off x="8673305" y="4914900"/>
            <a:ext cx="183358" cy="52388"/>
            <a:chOff x="8673305" y="4914900"/>
            <a:chExt cx="183358" cy="52388"/>
          </a:xfrm>
        </p:grpSpPr>
        <p:sp>
          <p:nvSpPr>
            <p:cNvPr id="5" name="Ellipse 4"/>
            <p:cNvSpPr/>
            <p:nvPr userDrawn="1"/>
          </p:nvSpPr>
          <p:spPr bwMode="auto">
            <a:xfrm>
              <a:off x="8804275" y="4914900"/>
              <a:ext cx="52388" cy="523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4" name="Ellipse 13"/>
            <p:cNvSpPr/>
            <p:nvPr userDrawn="1"/>
          </p:nvSpPr>
          <p:spPr bwMode="auto">
            <a:xfrm>
              <a:off x="8738790" y="4914900"/>
              <a:ext cx="52388" cy="5238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5" name="Ellipse 14"/>
            <p:cNvSpPr/>
            <p:nvPr userDrawn="1"/>
          </p:nvSpPr>
          <p:spPr bwMode="auto">
            <a:xfrm>
              <a:off x="8673305" y="4914900"/>
              <a:ext cx="52388" cy="523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</p:sldLayoutIdLst>
  <p:hf dt="1" ftr="1" hdr="0" sldNum="1"/>
  <p:txStyles>
    <p:titleStyle>
      <a:lvl1pPr algn="l" defTabSz="685800">
        <a:lnSpc>
          <a:spcPct val="95000"/>
        </a:lnSpc>
        <a:spcBef>
          <a:spcPts val="0"/>
        </a:spcBef>
        <a:buNone/>
        <a:defRPr sz="2000" b="1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>
        <a:lnSpc>
          <a:spcPct val="90000"/>
        </a:lnSpc>
        <a:spcBef>
          <a:spcPts val="750"/>
        </a:spcBef>
        <a:buFontTx/>
        <a:buNone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2563" algn="l" defTabSz="685800">
        <a:lnSpc>
          <a:spcPct val="90000"/>
        </a:lnSpc>
        <a:spcBef>
          <a:spcPts val="375"/>
        </a:spcBef>
        <a:buClr>
          <a:schemeClr val="accent1"/>
        </a:buClr>
        <a:buFont typeface="Arial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685800">
        <a:lnSpc>
          <a:spcPct val="90000"/>
        </a:lnSpc>
        <a:spcBef>
          <a:spcPts val="375"/>
        </a:spcBef>
        <a:buClr>
          <a:schemeClr val="accent1"/>
        </a:buClr>
        <a:buFont typeface="Arial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77800" algn="l" defTabSz="685800">
        <a:lnSpc>
          <a:spcPct val="90000"/>
        </a:lnSpc>
        <a:spcBef>
          <a:spcPts val="375"/>
        </a:spcBef>
        <a:buClr>
          <a:schemeClr val="accent1"/>
        </a:buClr>
        <a:buFont typeface="Arial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685800">
        <a:lnSpc>
          <a:spcPct val="90000"/>
        </a:lnSpc>
        <a:spcBef>
          <a:spcPts val="375"/>
        </a:spcBef>
        <a:buClr>
          <a:schemeClr val="accent1"/>
        </a:buClr>
        <a:buFont typeface="Arial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>
        <a:lnSpc>
          <a:spcPct val="90000"/>
        </a:lnSpc>
        <a:spcBef>
          <a:spcPts val="375"/>
        </a:spcBef>
        <a:buFont typeface="Arial"/>
        <a:buChar char="•"/>
        <a:defRPr sz="135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>
        <a:lnSpc>
          <a:spcPct val="90000"/>
        </a:lnSpc>
        <a:spcBef>
          <a:spcPts val="375"/>
        </a:spcBef>
        <a:buFont typeface="Arial"/>
        <a:buChar char="•"/>
        <a:defRPr sz="135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>
        <a:lnSpc>
          <a:spcPct val="90000"/>
        </a:lnSpc>
        <a:spcBef>
          <a:spcPts val="375"/>
        </a:spcBef>
        <a:buFont typeface="Arial"/>
        <a:buChar char="•"/>
        <a:defRPr sz="135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>
        <a:lnSpc>
          <a:spcPct val="90000"/>
        </a:lnSpc>
        <a:spcBef>
          <a:spcPts val="375"/>
        </a:spcBef>
        <a:buFont typeface="Arial"/>
        <a:buChar char="•"/>
        <a:defRPr sz="135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>
        <a:defRPr sz="135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>
        <a:defRPr sz="135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>
        <a:defRPr sz="135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>
        <a:defRPr sz="135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>
        <a:defRPr sz="135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>
        <a:defRPr sz="135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>
        <a:defRPr sz="135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>
        <a:defRPr sz="135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>
        <a:defRPr sz="135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5.emf"/><Relationship Id="rId3" Type="http://schemas.openxmlformats.org/officeDocument/2006/relationships/oleObject" Target="../embeddings/oleObject4.bin"/><Relationship Id="rId4" Type="http://schemas.openxmlformats.org/officeDocument/2006/relationships/image" Target="../media/image6.png"/></Relationships>
</file>

<file path=ppt/slides/_rels/slide10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31.emf"/><Relationship Id="rId3" Type="http://schemas.openxmlformats.org/officeDocument/2006/relationships/oleObject" Target="../embeddings/oleObject13.bin"/><Relationship Id="rId4" Type="http://schemas.openxmlformats.org/officeDocument/2006/relationships/image" Target="../media/image32.jpg"/></Relationships>
</file>

<file path=ppt/slides/_rels/slide1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33.emf"/><Relationship Id="rId3" Type="http://schemas.openxmlformats.org/officeDocument/2006/relationships/oleObject" Target="../embeddings/oleObject14.bin"/><Relationship Id="rId4" Type="http://schemas.openxmlformats.org/officeDocument/2006/relationships/image" Target="../media/image34.png"/></Relationships>
</file>

<file path=ppt/slides/_rels/slide2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7.png"/><Relationship Id="rId3" Type="http://schemas.openxmlformats.org/officeDocument/2006/relationships/image" Target="../media/image8.emf"/><Relationship Id="rId4" Type="http://schemas.openxmlformats.org/officeDocument/2006/relationships/oleObject" Target="../embeddings/oleObject5.bin"/><Relationship Id="rId5" Type="http://schemas.openxmlformats.org/officeDocument/2006/relationships/image" Target="../media/image9.png"/><Relationship Id="rId6" Type="http://schemas.openxmlformats.org/officeDocument/2006/relationships/image" Target="../media/image10.png"/><Relationship Id="rId7" Type="http://schemas.openxmlformats.org/officeDocument/2006/relationships/image" Target="../media/image11.png"/></Relationships>
</file>

<file path=ppt/slides/_rels/slide3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12.emf"/><Relationship Id="rId3" Type="http://schemas.openxmlformats.org/officeDocument/2006/relationships/oleObject" Target="../embeddings/oleObject6.bin"/><Relationship Id="rId4" Type="http://schemas.openxmlformats.org/officeDocument/2006/relationships/image" Target="../media/image13.jpg"/></Relationships>
</file>

<file path=ppt/slides/_rels/slide4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14.emf"/><Relationship Id="rId3" Type="http://schemas.openxmlformats.org/officeDocument/2006/relationships/oleObject" Target="../embeddings/oleObject7.bin"/><Relationship Id="rId4" Type="http://schemas.openxmlformats.org/officeDocument/2006/relationships/image" Target="../media/image15.png"/><Relationship Id="rId5" Type="http://schemas.openxmlformats.org/officeDocument/2006/relationships/image" Target="../media/image16.png"/></Relationships>
</file>

<file path=ppt/slides/_rels/slide5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17.emf"/><Relationship Id="rId3" Type="http://schemas.openxmlformats.org/officeDocument/2006/relationships/oleObject" Target="../embeddings/oleObject8.bin"/><Relationship Id="rId4" Type="http://schemas.openxmlformats.org/officeDocument/2006/relationships/image" Target="../media/image18.png"/><Relationship Id="rId5" Type="http://schemas.openxmlformats.org/officeDocument/2006/relationships/image" Target="../media/image19.png"/><Relationship Id="rId6" Type="http://schemas.openxmlformats.org/officeDocument/2006/relationships/image" Target="../media/image10.png"/></Relationships>
</file>

<file path=ppt/slides/_rels/slide6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20.emf"/><Relationship Id="rId3" Type="http://schemas.openxmlformats.org/officeDocument/2006/relationships/oleObject" Target="../embeddings/oleObject9.bin"/><Relationship Id="rId4" Type="http://schemas.openxmlformats.org/officeDocument/2006/relationships/image" Target="../media/image21.png"/><Relationship Id="rId5" Type="http://schemas.openxmlformats.org/officeDocument/2006/relationships/image" Target="../media/image22.png"/></Relationships>
</file>

<file path=ppt/slides/_rels/slide7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23.emf"/><Relationship Id="rId3" Type="http://schemas.openxmlformats.org/officeDocument/2006/relationships/oleObject" Target="../embeddings/oleObject10.bin"/><Relationship Id="rId4" Type="http://schemas.openxmlformats.org/officeDocument/2006/relationships/image" Target="../media/image24.png"/><Relationship Id="rId5" Type="http://schemas.openxmlformats.org/officeDocument/2006/relationships/image" Target="../media/image25.jpg"/></Relationships>
</file>

<file path=ppt/slides/_rels/slide8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26.emf"/><Relationship Id="rId3" Type="http://schemas.openxmlformats.org/officeDocument/2006/relationships/oleObject" Target="../embeddings/oleObject11.bin"/><Relationship Id="rId4" Type="http://schemas.openxmlformats.org/officeDocument/2006/relationships/image" Target="../media/image27.jpg"/><Relationship Id="rId5" Type="http://schemas.openxmlformats.org/officeDocument/2006/relationships/image" Target="../media/image28.jpg"/></Relationships>
</file>

<file path=ppt/slides/_rels/slide9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29.emf"/><Relationship Id="rId3" Type="http://schemas.openxmlformats.org/officeDocument/2006/relationships/oleObject" Target="../embeddings/oleObject12.bin"/><Relationship Id="rId4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39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 bwMode="auto">
          <a:xfrm>
            <a:off x="4342012" y="871500"/>
            <a:ext cx="4630109" cy="1294184"/>
          </a:xfrm>
        </p:spPr>
        <p:txBody>
          <a:bodyPr vert="horz"/>
          <a:lstStyle/>
          <a:p>
            <a:pPr algn="ctr">
              <a:defRPr/>
            </a:pPr>
            <a:r>
              <a:rPr lang="ru-RU" sz="3200"/>
              <a:t>Базовая станция  </a:t>
            </a:r>
            <a:br>
              <a:rPr lang="ru-RU" sz="3200"/>
            </a:br>
            <a:r>
              <a:rPr lang="ru-RU" sz="3200"/>
              <a:t>сотовой связи</a:t>
            </a:r>
            <a:endParaRPr lang="ru-RU" sz="3200"/>
          </a:p>
        </p:txBody>
      </p:sp>
      <p:sp>
        <p:nvSpPr>
          <p:cNvPr id="15" name="Titel 4"/>
          <p:cNvSpPr txBox="1"/>
          <p:nvPr/>
        </p:nvSpPr>
        <p:spPr bwMode="auto">
          <a:xfrm>
            <a:off x="4623882" y="2680799"/>
            <a:ext cx="4208833" cy="37058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>
              <a:lnSpc>
                <a:spcPct val="95000"/>
              </a:lnSpc>
              <a:spcBef>
                <a:spcPts val="0"/>
              </a:spcBef>
              <a:buNone/>
              <a:defRPr sz="4000" b="0">
                <a:solidFill>
                  <a:schemeClr val="bg1"/>
                </a:solidFill>
                <a:latin typeface="Arial Black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2400"/>
              <a:t>Стоит ли её опасаться?</a:t>
            </a:r>
            <a:endParaRPr/>
          </a:p>
          <a:p>
            <a:pPr>
              <a:defRPr/>
            </a:pPr>
            <a:endParaRPr lang="ru-RU" sz="2400"/>
          </a:p>
          <a:p>
            <a:pPr>
              <a:defRPr/>
            </a:pPr>
            <a:br>
              <a:rPr lang="ru-RU" sz="2400"/>
            </a:br>
            <a:endParaRPr lang="ru-RU" sz="240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-1" y="0"/>
            <a:ext cx="4255742" cy="5149094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79882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0F83C6A9-09AF-44EB-BB3F-3943791E8916}" type="slidenum">
              <a:rPr lang="ru-RU">
                <a:solidFill>
                  <a:srgbClr val="000000"/>
                </a:solidFill>
              </a:rPr>
              <a:t>10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Овал 7"/>
          <p:cNvSpPr/>
          <p:nvPr/>
        </p:nvSpPr>
        <p:spPr bwMode="auto">
          <a:xfrm>
            <a:off x="111880" y="117035"/>
            <a:ext cx="358571" cy="34679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7" tIns="35964" rIns="71927" bIns="35964" rtlCol="0" anchor="t" anchorCtr="0"/>
          <a:lstStyle/>
          <a:p>
            <a:pPr algn="ctr">
              <a:defRPr/>
            </a:pPr>
            <a:endParaRPr lang="ru-RU" sz="1600">
              <a:solidFill>
                <a:srgbClr val="FFFFFF"/>
              </a:solidFill>
            </a:endParaRPr>
          </a:p>
        </p:txBody>
      </p:sp>
      <p:sp>
        <p:nvSpPr>
          <p:cNvPr id="9" name="Овал 8"/>
          <p:cNvSpPr/>
          <p:nvPr/>
        </p:nvSpPr>
        <p:spPr bwMode="auto">
          <a:xfrm>
            <a:off x="551202" y="117132"/>
            <a:ext cx="358571" cy="34679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7" tIns="35964" rIns="71927" bIns="35964" rtlCol="0" anchor="t" anchorCtr="0"/>
          <a:lstStyle/>
          <a:p>
            <a:pPr algn="ctr">
              <a:defRPr/>
            </a:pPr>
            <a:endParaRPr lang="ru-RU" sz="1600">
              <a:solidFill>
                <a:srgbClr val="FFFFFF"/>
              </a:solidFill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 bwMode="auto">
          <a:xfrm>
            <a:off x="983649" y="119798"/>
            <a:ext cx="2252419" cy="371529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>
              <a:defRPr/>
            </a:pPr>
            <a:r>
              <a:rPr lang="ru-RU" sz="1600">
                <a:solidFill>
                  <a:schemeClr val="bg2"/>
                </a:solidFill>
                <a:latin typeface="GT Walsheim v2 Manual Bold"/>
              </a:rPr>
              <a:t>Интересные факты </a:t>
            </a:r>
            <a:endParaRPr/>
          </a:p>
        </p:txBody>
      </p:sp>
      <p:sp>
        <p:nvSpPr>
          <p:cNvPr id="10" name="Текст 11"/>
          <p:cNvSpPr txBox="1"/>
          <p:nvPr/>
        </p:nvSpPr>
        <p:spPr bwMode="auto">
          <a:xfrm>
            <a:off x="449945" y="648510"/>
            <a:ext cx="2822918" cy="278889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>
              <a:defRPr sz="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defRPr/>
            </a:pPr>
            <a:r>
              <a:rPr lang="ru-RU" sz="1600">
                <a:solidFill>
                  <a:srgbClr val="7030A0"/>
                </a:solidFill>
                <a:latin typeface="Calibri"/>
                <a:cs typeface="Calibri"/>
              </a:rPr>
              <a:t>Базовых станций не стоит бояться, важно понимать принцип их работы и пользу от близости размещения.</a:t>
            </a:r>
            <a:endParaRPr/>
          </a:p>
          <a:p>
            <a:pPr algn="just">
              <a:defRPr/>
            </a:pPr>
            <a:endParaRPr lang="ru-RU" sz="1600">
              <a:solidFill>
                <a:srgbClr val="7030A0"/>
              </a:solidFill>
              <a:latin typeface="Calibri"/>
              <a:cs typeface="Calibri"/>
            </a:endParaRPr>
          </a:p>
          <a:p>
            <a:pPr algn="just">
              <a:defRPr/>
            </a:pPr>
            <a:r>
              <a:rPr lang="ru-RU" sz="1600">
                <a:solidFill>
                  <a:srgbClr val="7030A0"/>
                </a:solidFill>
                <a:latin typeface="Calibri"/>
                <a:cs typeface="Calibri"/>
              </a:rPr>
              <a:t>Мало кто из абонентов знает: чем ближе к вам объект базовой станции, тем меньшую мощность излучает смартфон в момент соединения, а также в фоновом режиме.</a:t>
            </a:r>
            <a:endParaRPr lang="ru-RU" sz="1600">
              <a:solidFill>
                <a:srgbClr val="7030A0"/>
              </a:solidFill>
              <a:latin typeface="Calibri"/>
              <a:cs typeface="Calibri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3893009" y="797275"/>
            <a:ext cx="4670600" cy="2615536"/>
          </a:xfrm>
          <a:prstGeom prst="rect">
            <a:avLst/>
          </a:prstGeom>
        </p:spPr>
      </p:pic>
      <p:sp>
        <p:nvSpPr>
          <p:cNvPr id="12" name="Текст 11"/>
          <p:cNvSpPr txBox="1"/>
          <p:nvPr/>
        </p:nvSpPr>
        <p:spPr bwMode="auto">
          <a:xfrm>
            <a:off x="3741941" y="3450345"/>
            <a:ext cx="4928646" cy="103822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>
              <a:defRPr sz="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defRPr/>
            </a:pPr>
            <a:r>
              <a:rPr lang="ru-RU" sz="1600">
                <a:solidFill>
                  <a:srgbClr val="00B050"/>
                </a:solidFill>
                <a:latin typeface="Calibri"/>
                <a:cs typeface="Calibri"/>
              </a:rPr>
              <a:t>Большая плотность базовых станций в городе — это залог стабильного сигнала, быстрого Интернета и минимизация излучения для абонентов.</a:t>
            </a:r>
            <a:endParaRPr lang="ru-RU" sz="1600">
              <a:solidFill>
                <a:srgbClr val="00B050"/>
              </a:solidFill>
              <a:latin typeface="Calibri"/>
              <a:cs typeface="Calibri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79883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lum bright="70000" contrast="-70000"/>
          </a:blip>
          <a:stretch/>
        </p:blipFill>
        <p:spPr bwMode="auto">
          <a:xfrm>
            <a:off x="2328290" y="877824"/>
            <a:ext cx="4261794" cy="3927190"/>
          </a:xfrm>
          <a:prstGeom prst="rect">
            <a:avLst/>
          </a:prstGeom>
          <a:effectLst/>
        </p:spPr>
      </p:pic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0F83C6A9-09AF-44EB-BB3F-3943791E8916}" type="slidenum">
              <a:rPr lang="ru-RU">
                <a:solidFill>
                  <a:srgbClr val="000000"/>
                </a:solidFill>
              </a:rPr>
              <a:t>11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Овал 7"/>
          <p:cNvSpPr/>
          <p:nvPr/>
        </p:nvSpPr>
        <p:spPr bwMode="auto">
          <a:xfrm>
            <a:off x="111880" y="117035"/>
            <a:ext cx="358571" cy="34679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7" tIns="35964" rIns="71927" bIns="35964" rtlCol="0" anchor="t" anchorCtr="0"/>
          <a:lstStyle/>
          <a:p>
            <a:pPr algn="ctr">
              <a:defRPr/>
            </a:pPr>
            <a:endParaRPr lang="ru-RU" sz="1600">
              <a:solidFill>
                <a:srgbClr val="FFFFFF"/>
              </a:solidFill>
            </a:endParaRPr>
          </a:p>
        </p:txBody>
      </p:sp>
      <p:sp>
        <p:nvSpPr>
          <p:cNvPr id="9" name="Овал 8"/>
          <p:cNvSpPr/>
          <p:nvPr/>
        </p:nvSpPr>
        <p:spPr bwMode="auto">
          <a:xfrm>
            <a:off x="532914" y="111037"/>
            <a:ext cx="358571" cy="34679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7" tIns="35964" rIns="71927" bIns="35964" rtlCol="0" anchor="t" anchorCtr="0"/>
          <a:lstStyle/>
          <a:p>
            <a:pPr algn="ctr">
              <a:defRPr/>
            </a:pPr>
            <a:endParaRPr lang="ru-RU" sz="1600">
              <a:solidFill>
                <a:srgbClr val="FFFFFF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450585" y="871610"/>
            <a:ext cx="8334519" cy="42734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801975">
              <a:lnSpc>
                <a:spcPct val="95000"/>
              </a:lnSpc>
              <a:spcBef>
                <a:spcPts val="0"/>
              </a:spcBef>
              <a:defRPr/>
            </a:pP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Сегодня сложно представить нашу жизнь без сотовой связи. Мобильный телефон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давно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перестал быть просто устройством для звонков, а превратился в полноценный инструмент для поиска информации, работы,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развлечений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и даже способен заменить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кошелек.</a:t>
            </a:r>
            <a:endParaRPr lang="ru-RU" sz="1100" b="1">
              <a:solidFill>
                <a:srgbClr val="7030A0"/>
              </a:solidFill>
              <a:latin typeface="Arial Rounded MT Bold"/>
              <a:cs typeface="Arial"/>
            </a:endParaRPr>
          </a:p>
          <a:p>
            <a:pPr marL="342900" indent="-342900" algn="just" defTabSz="801975">
              <a:lnSpc>
                <a:spcPct val="95000"/>
              </a:lnSpc>
              <a:spcBef>
                <a:spcPts val="0"/>
              </a:spcBef>
              <a:buFont typeface="Wingdings"/>
              <a:buChar char="q"/>
              <a:defRPr/>
            </a:pPr>
            <a:endParaRPr lang="ru-RU" sz="1100" b="1">
              <a:solidFill>
                <a:srgbClr val="7030A0"/>
              </a:solidFill>
              <a:latin typeface="Arial Rounded MT Bold"/>
              <a:cs typeface="Arial"/>
            </a:endParaRPr>
          </a:p>
          <a:p>
            <a:pPr algn="just" defTabSz="801975">
              <a:lnSpc>
                <a:spcPct val="95000"/>
              </a:lnSpc>
              <a:spcBef>
                <a:spcPts val="0"/>
              </a:spcBef>
              <a:defRPr/>
            </a:pP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Операторы сотовой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связи,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хоть и являются коммерческими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организациями, при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этом не являются врагами граждан - своих же абонентов. Миссия операторов - приносить пользу обществу, оказывая качественные услуги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связи и действуя строго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в правовом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поле,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не принося вреда жизни и здоровью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людей.</a:t>
            </a:r>
            <a:endParaRPr lang="ru-RU" sz="1100" b="1">
              <a:solidFill>
                <a:srgbClr val="7030A0"/>
              </a:solidFill>
              <a:latin typeface="Arial Rounded MT Bold"/>
              <a:cs typeface="Arial"/>
            </a:endParaRPr>
          </a:p>
          <a:p>
            <a:pPr algn="just" defTabSz="801975">
              <a:lnSpc>
                <a:spcPct val="95000"/>
              </a:lnSpc>
              <a:spcBef>
                <a:spcPts val="0"/>
              </a:spcBef>
              <a:defRPr/>
            </a:pPr>
            <a:endParaRPr lang="ru-RU" sz="1100" b="1">
              <a:solidFill>
                <a:srgbClr val="7030A0"/>
              </a:solidFill>
              <a:latin typeface="Arial Rounded MT Bold"/>
              <a:cs typeface="Arial"/>
            </a:endParaRPr>
          </a:p>
          <a:p>
            <a:pPr algn="just" defTabSz="801975">
              <a:lnSpc>
                <a:spcPct val="95000"/>
              </a:lnSpc>
              <a:spcBef>
                <a:spcPts val="0"/>
              </a:spcBef>
              <a:defRPr/>
            </a:pP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Развитие сотовых сетей позволило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получить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скоростной доступ к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мобильному Интернету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. Сотовая связь позволяет нам не только оставаться в контакте с родными и близкими, созваниваться по работе и решать важные задачи, но и получать ответы на массу других вопросов, получать дистанционное образование для себя и для наших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детей.</a:t>
            </a:r>
            <a:endParaRPr lang="ru-RU" sz="1100" b="1">
              <a:solidFill>
                <a:srgbClr val="7030A0"/>
              </a:solidFill>
              <a:latin typeface="Arial Rounded MT Bold"/>
              <a:cs typeface="Arial"/>
            </a:endParaRPr>
          </a:p>
          <a:p>
            <a:pPr algn="just" defTabSz="801975">
              <a:lnSpc>
                <a:spcPct val="95000"/>
              </a:lnSpc>
              <a:spcBef>
                <a:spcPts val="0"/>
              </a:spcBef>
              <a:defRPr/>
            </a:pPr>
            <a:endParaRPr lang="ru-RU" sz="1100" b="1">
              <a:solidFill>
                <a:srgbClr val="7030A0"/>
              </a:solidFill>
              <a:latin typeface="Arial Rounded MT Bold"/>
              <a:cs typeface="Arial"/>
            </a:endParaRPr>
          </a:p>
          <a:p>
            <a:pPr algn="just" defTabSz="801975">
              <a:lnSpc>
                <a:spcPct val="95000"/>
              </a:lnSpc>
              <a:spcBef>
                <a:spcPts val="0"/>
              </a:spcBef>
              <a:defRPr/>
            </a:pP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С развитием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Интернета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и информационных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технологий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больше нет необходимости совершать многие действия, которые раньше отнимали много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сил и времени.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Мы можем оплачивать любые счета — за свет, за газ, за воду с помощью мобильного телефона. Это позволяет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экономить время на походы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в банк или С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беркассу.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Ведь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платить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онлайн можно когда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удобно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, а не в строго отведенные часы работы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кассы.</a:t>
            </a:r>
            <a:endParaRPr lang="ru-RU" sz="1100" b="1">
              <a:solidFill>
                <a:srgbClr val="7030A0"/>
              </a:solidFill>
              <a:latin typeface="Arial Rounded MT Bold"/>
              <a:cs typeface="Arial"/>
            </a:endParaRPr>
          </a:p>
          <a:p>
            <a:pPr algn="just" defTabSz="801975">
              <a:lnSpc>
                <a:spcPct val="95000"/>
              </a:lnSpc>
              <a:spcBef>
                <a:spcPts val="0"/>
              </a:spcBef>
              <a:defRPr/>
            </a:pPr>
            <a:endParaRPr lang="ru-RU" sz="1100" b="1">
              <a:solidFill>
                <a:srgbClr val="7030A0"/>
              </a:solidFill>
              <a:latin typeface="Arial Rounded MT Bold"/>
              <a:cs typeface="Arial"/>
            </a:endParaRPr>
          </a:p>
          <a:p>
            <a:pPr algn="just" defTabSz="801975">
              <a:lnSpc>
                <a:spcPct val="95000"/>
              </a:lnSpc>
              <a:spcBef>
                <a:spcPts val="0"/>
              </a:spcBef>
              <a:defRPr/>
            </a:pP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Однако, всё это становится невозможно без установки базовых станций в оптимальных для этого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местах,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в том числе внутри жилой застройки. Мифы и легенды о вреде здоровью от базовых станций давно изучены и не имеют под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собой 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научных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обоснований.</a:t>
            </a:r>
            <a:endParaRPr lang="ru-RU" sz="1100" b="1">
              <a:solidFill>
                <a:srgbClr val="7030A0"/>
              </a:solidFill>
              <a:latin typeface="Arial Rounded MT Bold"/>
              <a:cs typeface="Arial"/>
            </a:endParaRPr>
          </a:p>
          <a:p>
            <a:pPr algn="just" defTabSz="801975">
              <a:lnSpc>
                <a:spcPct val="95000"/>
              </a:lnSpc>
              <a:spcBef>
                <a:spcPts val="0"/>
              </a:spcBef>
              <a:defRPr/>
            </a:pPr>
            <a:endParaRPr lang="ru-RU" sz="1100" b="1">
              <a:solidFill>
                <a:srgbClr val="7030A0"/>
              </a:solidFill>
              <a:latin typeface="Arial Rounded MT Bold"/>
              <a:cs typeface="Arial"/>
            </a:endParaRPr>
          </a:p>
          <a:p>
            <a:pPr algn="just" defTabSz="801975">
              <a:lnSpc>
                <a:spcPct val="95000"/>
              </a:lnSpc>
              <a:spcBef>
                <a:spcPts val="0"/>
              </a:spcBef>
              <a:defRPr/>
            </a:pP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Необходимо идти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в ногу со временем,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даже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если не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для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себя, то хотя бы ради наших детей и внуков, которым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нужно развиваться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, работать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удаленно, получать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образование с помощью современных технологий и сетей сотовой </a:t>
            </a:r>
            <a:r>
              <a:rPr lang="ru-RU" sz="1100" b="1">
                <a:solidFill>
                  <a:srgbClr val="7030A0"/>
                </a:solidFill>
                <a:latin typeface="Arial Rounded MT Bold"/>
                <a:cs typeface="Arial"/>
              </a:rPr>
              <a:t>связи.</a:t>
            </a:r>
            <a:endParaRPr lang="ru-RU" sz="1100" b="1">
              <a:solidFill>
                <a:srgbClr val="7030A0"/>
              </a:solidFill>
              <a:latin typeface="Arial Rounded MT Bold"/>
              <a:cs typeface="Arial"/>
            </a:endParaRPr>
          </a:p>
          <a:p>
            <a:pPr algn="just" defTabSz="801975">
              <a:lnSpc>
                <a:spcPct val="95000"/>
              </a:lnSpc>
              <a:spcBef>
                <a:spcPts val="0"/>
              </a:spcBef>
              <a:defRPr/>
            </a:pPr>
            <a:endParaRPr lang="ru-RU" sz="1100" b="1">
              <a:solidFill>
                <a:srgbClr val="7030A0"/>
              </a:solidFill>
              <a:latin typeface="Arial Rounded MT Bold"/>
              <a:cs typeface="Arial"/>
            </a:endParaRPr>
          </a:p>
          <a:p>
            <a:pPr algn="just" defTabSz="801975">
              <a:lnSpc>
                <a:spcPct val="95000"/>
              </a:lnSpc>
              <a:spcBef>
                <a:spcPts val="0"/>
              </a:spcBef>
              <a:defRPr/>
            </a:pPr>
            <a:endParaRPr lang="ru-RU" sz="1100" b="1">
              <a:solidFill>
                <a:srgbClr val="7030A0"/>
              </a:solidFill>
              <a:latin typeface="Arial Rounded MT Bold"/>
              <a:cs typeface="Arial"/>
            </a:endParaRPr>
          </a:p>
        </p:txBody>
      </p:sp>
      <p:sp>
        <p:nvSpPr>
          <p:cNvPr id="11" name="Овал 10"/>
          <p:cNvSpPr/>
          <p:nvPr/>
        </p:nvSpPr>
        <p:spPr bwMode="auto">
          <a:xfrm>
            <a:off x="962228" y="114279"/>
            <a:ext cx="358571" cy="34679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7" tIns="35964" rIns="71927" bIns="35964" rtlCol="0" anchor="t" anchorCtr="0"/>
          <a:lstStyle/>
          <a:p>
            <a:pPr algn="ctr">
              <a:defRPr/>
            </a:pPr>
            <a:endParaRPr lang="ru-RU" sz="1600">
              <a:solidFill>
                <a:srgbClr val="FFFFFF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551202" y="974601"/>
            <a:ext cx="3878470" cy="3194034"/>
          </a:xfrm>
          <a:prstGeom prst="rect">
            <a:avLst/>
          </a:prstGeom>
        </p:spPr>
      </p:pic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4" imgW="0" imgH="0" progId="TCLayout.ActiveDocument.1">
              <p:embed/>
              <p:pic>
                <p:nvPicPr>
                  <p:cNvPr id="40" name=""/>
                  <p:cNvPicPr/>
                  <p:nvPr/>
                </p:nvPicPr>
                <p:blipFill>
                  <a:blip r:embed="rId3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0F83C6A9-09AF-44EB-BB3F-3943791E8916}" type="slidenum">
              <a:rPr lang="ru-RU">
                <a:solidFill>
                  <a:srgbClr val="000000"/>
                </a:solidFill>
              </a:rPr>
              <a:t>2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Овал 7"/>
          <p:cNvSpPr/>
          <p:nvPr/>
        </p:nvSpPr>
        <p:spPr bwMode="auto">
          <a:xfrm>
            <a:off x="111880" y="117035"/>
            <a:ext cx="358571" cy="34679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7" tIns="35964" rIns="71927" bIns="35964" rtlCol="0" anchor="t" anchorCtr="0"/>
          <a:lstStyle/>
          <a:p>
            <a:pPr algn="ctr">
              <a:defRPr/>
            </a:pPr>
            <a:endParaRPr lang="ru-RU" sz="1600">
              <a:solidFill>
                <a:srgbClr val="FFFFFF"/>
              </a:solidFill>
            </a:endParaRPr>
          </a:p>
        </p:txBody>
      </p:sp>
      <p:sp>
        <p:nvSpPr>
          <p:cNvPr id="9" name="Овал 8"/>
          <p:cNvSpPr/>
          <p:nvPr/>
        </p:nvSpPr>
        <p:spPr bwMode="auto">
          <a:xfrm>
            <a:off x="551202" y="117132"/>
            <a:ext cx="358571" cy="34679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7" tIns="35964" rIns="71927" bIns="35964" rtlCol="0" anchor="t" anchorCtr="0"/>
          <a:lstStyle/>
          <a:p>
            <a:pPr algn="ctr">
              <a:defRPr/>
            </a:pPr>
            <a:endParaRPr lang="ru-RU" sz="1600">
              <a:solidFill>
                <a:srgbClr val="FFFFFF"/>
              </a:solidFill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 bwMode="auto">
          <a:xfrm>
            <a:off x="969899" y="119798"/>
            <a:ext cx="3987112" cy="371529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>
              <a:defRPr/>
            </a:pPr>
            <a:r>
              <a:rPr lang="ru-RU" sz="1600">
                <a:solidFill>
                  <a:schemeClr val="bg2"/>
                </a:solidFill>
                <a:latin typeface="GT Walsheim v2 Manual Bold"/>
              </a:rPr>
              <a:t>Зачем Минусинску базовые станции</a:t>
            </a:r>
            <a:endParaRPr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942772" y="4238826"/>
            <a:ext cx="862013" cy="745130"/>
          </a:xfrm>
          <a:prstGeom prst="rect">
            <a:avLst/>
          </a:prstGeom>
        </p:spPr>
      </p:pic>
      <p:pic>
        <p:nvPicPr>
          <p:cNvPr id="10" name="Picture 580"/>
          <p:cNvPicPr>
            <a:picLocks noChangeAspect="1"/>
          </p:cNvPicPr>
          <p:nvPr/>
        </p:nvPicPr>
        <p:blipFill>
          <a:blip r:embed="rId6">
            <a:alphaModFix amt="35000"/>
          </a:blip>
          <a:srcRect l="29398" t="8741" r="100" b="27"/>
          <a:stretch/>
        </p:blipFill>
        <p:spPr bwMode="ltGray">
          <a:xfrm flipH="1">
            <a:off x="4202231" y="0"/>
            <a:ext cx="432619" cy="5145088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 bwMode="auto">
          <a:xfrm>
            <a:off x="533400" y="687502"/>
            <a:ext cx="3876473" cy="297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01975">
              <a:lnSpc>
                <a:spcPct val="95000"/>
              </a:lnSpc>
              <a:spcBef>
                <a:spcPts val="0"/>
              </a:spcBef>
              <a:defRPr/>
            </a:pPr>
            <a:r>
              <a:rPr lang="ru-RU" sz="1400" b="1">
                <a:solidFill>
                  <a:srgbClr val="7030A0"/>
                </a:solidFill>
                <a:latin typeface="Arial Rounded MT Bold"/>
                <a:cs typeface="Arial"/>
              </a:rPr>
              <a:t>Район ул. </a:t>
            </a:r>
            <a:r>
              <a:rPr lang="ru-RU" sz="1400" b="1">
                <a:solidFill>
                  <a:srgbClr val="7030A0"/>
                </a:solidFill>
                <a:latin typeface="Arial Rounded MT Bold"/>
                <a:cs typeface="Arial"/>
              </a:rPr>
              <a:t>Подсинская</a:t>
            </a:r>
            <a:r>
              <a:rPr lang="ru-RU" sz="1400" b="1">
                <a:solidFill>
                  <a:srgbClr val="7030A0"/>
                </a:solidFill>
                <a:latin typeface="Arial Rounded MT Bold"/>
                <a:cs typeface="Arial"/>
              </a:rPr>
              <a:t> и ул. Красноармейская</a:t>
            </a:r>
            <a:endParaRPr/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4781550" y="2197328"/>
            <a:ext cx="4292934" cy="2636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801975">
              <a:lnSpc>
                <a:spcPct val="95000"/>
              </a:lnSpc>
              <a:spcBef>
                <a:spcPts val="0"/>
              </a:spcBef>
              <a:defRPr/>
            </a:pPr>
            <a:r>
              <a:rPr lang="ru-RU" sz="1400" b="1">
                <a:solidFill>
                  <a:srgbClr val="00B050"/>
                </a:solidFill>
                <a:latin typeface="Arial Rounded MT Bold"/>
                <a:cs typeface="Arial"/>
              </a:rPr>
              <a:t>Наличие базовой станции МегаФон</a:t>
            </a:r>
            <a:r>
              <a:rPr lang="en-US" sz="1400" b="1">
                <a:solidFill>
                  <a:srgbClr val="00B050"/>
                </a:solidFill>
                <a:latin typeface="Arial Rounded MT Bold"/>
                <a:cs typeface="Arial"/>
              </a:rPr>
              <a:t>&amp;Yota </a:t>
            </a:r>
            <a:endParaRPr lang="ru-RU" sz="1400" b="1">
              <a:solidFill>
                <a:srgbClr val="00B050"/>
              </a:solidFill>
              <a:latin typeface="Arial Rounded MT Bold"/>
              <a:cs typeface="Arial"/>
            </a:endParaRPr>
          </a:p>
          <a:p>
            <a:pPr algn="just" defTabSz="801975">
              <a:lnSpc>
                <a:spcPct val="95000"/>
              </a:lnSpc>
              <a:spcBef>
                <a:spcPts val="0"/>
              </a:spcBef>
              <a:defRPr/>
            </a:pPr>
            <a:r>
              <a:rPr lang="ru-RU" sz="1400" b="1">
                <a:solidFill>
                  <a:srgbClr val="00B050"/>
                </a:solidFill>
                <a:latin typeface="Arial Rounded MT Bold"/>
                <a:cs typeface="Arial"/>
              </a:rPr>
              <a:t>д</a:t>
            </a:r>
            <a:r>
              <a:rPr lang="ru-RU" sz="1400" b="1">
                <a:solidFill>
                  <a:srgbClr val="00B050"/>
                </a:solidFill>
                <a:latin typeface="Arial Rounded MT Bold"/>
                <a:cs typeface="Arial"/>
              </a:rPr>
              <a:t>аёт возможность:</a:t>
            </a:r>
            <a:endParaRPr/>
          </a:p>
          <a:p>
            <a:pPr algn="just" defTabSz="801975">
              <a:lnSpc>
                <a:spcPct val="95000"/>
              </a:lnSpc>
              <a:spcBef>
                <a:spcPts val="0"/>
              </a:spcBef>
              <a:defRPr/>
            </a:pPr>
            <a:endParaRPr lang="ru-RU" sz="1400" b="1">
              <a:solidFill>
                <a:srgbClr val="00B050"/>
              </a:solidFill>
              <a:latin typeface="Arial Rounded MT Bold"/>
              <a:cs typeface="Arial"/>
            </a:endParaRPr>
          </a:p>
          <a:p>
            <a:pPr marL="342900" indent="-342900" algn="just" defTabSz="801975">
              <a:lnSpc>
                <a:spcPct val="95000"/>
              </a:lnSpc>
              <a:spcBef>
                <a:spcPts val="0"/>
              </a:spcBef>
              <a:buFont typeface="Wingdings"/>
              <a:buChar char="q"/>
              <a:defRPr/>
            </a:pPr>
            <a:r>
              <a:rPr lang="ru-RU" sz="1200" b="1">
                <a:solidFill>
                  <a:srgbClr val="00B050"/>
                </a:solidFill>
                <a:latin typeface="Arial Rounded MT Bold"/>
                <a:cs typeface="Arial"/>
              </a:rPr>
              <a:t>Вызвать экстренные службы или близких на помощь</a:t>
            </a:r>
            <a:endParaRPr/>
          </a:p>
          <a:p>
            <a:pPr marL="342900" indent="-342900" algn="just" defTabSz="801975">
              <a:lnSpc>
                <a:spcPct val="95000"/>
              </a:lnSpc>
              <a:spcBef>
                <a:spcPts val="0"/>
              </a:spcBef>
              <a:buFont typeface="Wingdings"/>
              <a:buChar char="q"/>
              <a:defRPr/>
            </a:pPr>
            <a:r>
              <a:rPr lang="ru-RU" sz="1200" b="1">
                <a:solidFill>
                  <a:srgbClr val="00B050"/>
                </a:solidFill>
                <a:latin typeface="Arial Rounded MT Bold"/>
                <a:cs typeface="Arial"/>
              </a:rPr>
              <a:t>Вызвать врача</a:t>
            </a:r>
            <a:endParaRPr/>
          </a:p>
          <a:p>
            <a:pPr marL="342900" indent="-342900" algn="just" defTabSz="801975">
              <a:lnSpc>
                <a:spcPct val="95000"/>
              </a:lnSpc>
              <a:spcBef>
                <a:spcPts val="0"/>
              </a:spcBef>
              <a:buFont typeface="Wingdings"/>
              <a:buChar char="q"/>
              <a:defRPr/>
            </a:pPr>
            <a:r>
              <a:rPr lang="ru-RU" sz="1200" b="1">
                <a:solidFill>
                  <a:srgbClr val="00B050"/>
                </a:solidFill>
                <a:latin typeface="Arial Rounded MT Bold"/>
                <a:cs typeface="Arial"/>
              </a:rPr>
              <a:t>Разговаривать по телефону с хорошим качеством голоса</a:t>
            </a:r>
            <a:endParaRPr lang="ru-RU" sz="1200" b="1">
              <a:solidFill>
                <a:srgbClr val="00B050"/>
              </a:solidFill>
              <a:latin typeface="Arial Rounded MT Bold"/>
              <a:cs typeface="Arial"/>
            </a:endParaRPr>
          </a:p>
          <a:p>
            <a:pPr marL="342900" indent="-342900" algn="just" defTabSz="801975">
              <a:lnSpc>
                <a:spcPct val="95000"/>
              </a:lnSpc>
              <a:spcBef>
                <a:spcPts val="0"/>
              </a:spcBef>
              <a:buFont typeface="Wingdings"/>
              <a:buChar char="q"/>
              <a:defRPr/>
            </a:pPr>
            <a:r>
              <a:rPr lang="ru-RU" sz="1200" b="1">
                <a:solidFill>
                  <a:srgbClr val="00B050"/>
                </a:solidFill>
                <a:latin typeface="Arial Rounded MT Bold"/>
                <a:cs typeface="Arial"/>
              </a:rPr>
              <a:t>Пользоваться высокоскоростным Интернетом</a:t>
            </a:r>
            <a:endParaRPr/>
          </a:p>
          <a:p>
            <a:pPr marL="342900" indent="-342900" algn="just" defTabSz="801975">
              <a:lnSpc>
                <a:spcPct val="95000"/>
              </a:lnSpc>
              <a:spcBef>
                <a:spcPts val="0"/>
              </a:spcBef>
              <a:buFont typeface="Wingdings"/>
              <a:buChar char="q"/>
              <a:defRPr/>
            </a:pPr>
            <a:r>
              <a:rPr lang="ru-RU" sz="1200" b="1">
                <a:solidFill>
                  <a:srgbClr val="00B050"/>
                </a:solidFill>
                <a:latin typeface="Arial Rounded MT Bold"/>
                <a:cs typeface="Arial"/>
              </a:rPr>
              <a:t>Оплачивать покупки с телефона</a:t>
            </a:r>
            <a:endParaRPr/>
          </a:p>
          <a:p>
            <a:pPr marL="342900" indent="-342900" algn="just" defTabSz="801975">
              <a:lnSpc>
                <a:spcPct val="95000"/>
              </a:lnSpc>
              <a:spcBef>
                <a:spcPts val="0"/>
              </a:spcBef>
              <a:buFont typeface="Wingdings"/>
              <a:buChar char="q"/>
              <a:defRPr/>
            </a:pPr>
            <a:r>
              <a:rPr lang="ru-RU" sz="1200" b="1">
                <a:solidFill>
                  <a:srgbClr val="00B050"/>
                </a:solidFill>
                <a:latin typeface="Arial Rounded MT Bold"/>
                <a:cs typeface="Arial"/>
              </a:rPr>
              <a:t>Управлять устройствами «Умными домами», шлагбаумами,  камерами и т.д.</a:t>
            </a:r>
            <a:endParaRPr/>
          </a:p>
          <a:p>
            <a:pPr marL="342900" indent="-342900" algn="just" defTabSz="801975">
              <a:lnSpc>
                <a:spcPct val="95000"/>
              </a:lnSpc>
              <a:spcBef>
                <a:spcPts val="0"/>
              </a:spcBef>
              <a:buFont typeface="Wingdings"/>
              <a:buChar char="q"/>
              <a:defRPr/>
            </a:pPr>
            <a:r>
              <a:rPr lang="ru-RU" sz="1200" b="1">
                <a:solidFill>
                  <a:srgbClr val="00B050"/>
                </a:solidFill>
                <a:latin typeface="Arial Rounded MT Bold"/>
                <a:cs typeface="Arial"/>
              </a:rPr>
              <a:t>П</a:t>
            </a:r>
            <a:r>
              <a:rPr lang="ru-RU" sz="1200" b="1">
                <a:solidFill>
                  <a:srgbClr val="00B050"/>
                </a:solidFill>
                <a:latin typeface="Arial Rounded MT Bold"/>
                <a:cs typeface="Arial"/>
              </a:rPr>
              <a:t>олучать сигналы оповещения от МЧС</a:t>
            </a:r>
            <a:endParaRPr/>
          </a:p>
          <a:p>
            <a:pPr marL="342900" indent="-342900" algn="just" defTabSz="801975">
              <a:lnSpc>
                <a:spcPct val="95000"/>
              </a:lnSpc>
              <a:spcBef>
                <a:spcPts val="0"/>
              </a:spcBef>
              <a:buFont typeface="Wingdings"/>
              <a:buChar char="q"/>
              <a:defRPr/>
            </a:pPr>
            <a:r>
              <a:rPr lang="ru-RU" sz="1200" b="1">
                <a:solidFill>
                  <a:srgbClr val="00B050"/>
                </a:solidFill>
                <a:latin typeface="Arial Rounded MT Bold"/>
                <a:cs typeface="Arial"/>
              </a:rPr>
              <a:t>Экономить заряд телефона, из-за близости размещения БС и меньшей излучаемой мощности телефона</a:t>
            </a:r>
            <a:endParaRPr/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4746243" y="689006"/>
            <a:ext cx="4236788" cy="13203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801975">
              <a:lnSpc>
                <a:spcPct val="95000"/>
              </a:lnSpc>
              <a:spcBef>
                <a:spcPts val="0"/>
              </a:spcBef>
              <a:defRPr/>
            </a:pPr>
            <a:r>
              <a:rPr lang="ru-RU" sz="1200" b="1">
                <a:solidFill>
                  <a:srgbClr val="7030A0"/>
                </a:solidFill>
                <a:latin typeface="Arial Rounded MT Bold"/>
                <a:cs typeface="Arial"/>
              </a:rPr>
              <a:t>Низкий уровень сигнала сотовой связи в </a:t>
            </a:r>
            <a:r>
              <a:rPr lang="ru-RU" sz="1200" b="1">
                <a:solidFill>
                  <a:srgbClr val="7030A0"/>
                </a:solidFill>
                <a:latin typeface="Arial Rounded MT Bold"/>
                <a:cs typeface="Arial"/>
              </a:rPr>
              <a:t>районе ул. </a:t>
            </a:r>
            <a:r>
              <a:rPr lang="ru-RU" sz="1200" b="1">
                <a:solidFill>
                  <a:srgbClr val="7030A0"/>
                </a:solidFill>
                <a:latin typeface="Arial Rounded MT Bold"/>
                <a:cs typeface="Arial"/>
              </a:rPr>
              <a:t>Подсинская</a:t>
            </a:r>
            <a:r>
              <a:rPr lang="ru-RU" sz="1200" b="1">
                <a:solidFill>
                  <a:srgbClr val="7030A0"/>
                </a:solidFill>
                <a:latin typeface="Arial Rounded MT Bold"/>
                <a:cs typeface="Arial"/>
              </a:rPr>
              <a:t> и </a:t>
            </a:r>
            <a:r>
              <a:rPr lang="ru-RU" sz="1200" b="1">
                <a:solidFill>
                  <a:srgbClr val="7030A0"/>
                </a:solidFill>
                <a:latin typeface="Arial Rounded MT Bold"/>
                <a:cs typeface="Arial"/>
              </a:rPr>
              <a:t>ул. Красноармейская:</a:t>
            </a:r>
            <a:endParaRPr lang="ru-RU" sz="1200" b="1">
              <a:solidFill>
                <a:srgbClr val="7030A0"/>
              </a:solidFill>
              <a:latin typeface="Arial Rounded MT Bold"/>
              <a:cs typeface="Arial"/>
            </a:endParaRPr>
          </a:p>
          <a:p>
            <a:pPr marL="342900" indent="-342900" algn="just" defTabSz="801975">
              <a:lnSpc>
                <a:spcPct val="95000"/>
              </a:lnSpc>
              <a:spcBef>
                <a:spcPts val="0"/>
              </a:spcBef>
              <a:buFont typeface="Wingdings"/>
              <a:buChar char="q"/>
              <a:defRPr/>
            </a:pPr>
            <a:r>
              <a:rPr lang="ru-RU" sz="1200" b="1">
                <a:solidFill>
                  <a:srgbClr val="7030A0"/>
                </a:solidFill>
                <a:latin typeface="Arial Rounded MT Bold"/>
                <a:cs typeface="Arial"/>
              </a:rPr>
              <a:t>Н</a:t>
            </a:r>
            <a:r>
              <a:rPr lang="ru-RU" sz="1200" b="1">
                <a:solidFill>
                  <a:srgbClr val="7030A0"/>
                </a:solidFill>
                <a:latin typeface="Arial Rounded MT Bold"/>
                <a:cs typeface="Arial"/>
              </a:rPr>
              <a:t>еудовлетворительное качество голосовой связи (прерывания, заикания, неразборчивая речь)</a:t>
            </a:r>
            <a:endParaRPr/>
          </a:p>
          <a:p>
            <a:pPr marL="342900" indent="-342900" algn="just" defTabSz="801975">
              <a:lnSpc>
                <a:spcPct val="95000"/>
              </a:lnSpc>
              <a:spcBef>
                <a:spcPts val="0"/>
              </a:spcBef>
              <a:buFont typeface="Wingdings"/>
              <a:buChar char="q"/>
              <a:defRPr/>
            </a:pPr>
            <a:r>
              <a:rPr lang="ru-RU" sz="1200" b="1">
                <a:solidFill>
                  <a:srgbClr val="7030A0"/>
                </a:solidFill>
                <a:latin typeface="Arial Rounded MT Bold"/>
                <a:cs typeface="Arial"/>
              </a:rPr>
              <a:t>Отсутствие мобильного Интернета</a:t>
            </a:r>
            <a:endParaRPr/>
          </a:p>
          <a:p>
            <a:pPr marL="342900" indent="-342900" algn="just" defTabSz="801975">
              <a:lnSpc>
                <a:spcPct val="95000"/>
              </a:lnSpc>
              <a:spcBef>
                <a:spcPts val="0"/>
              </a:spcBef>
              <a:buFont typeface="Wingdings"/>
              <a:buChar char="q"/>
              <a:defRPr/>
            </a:pPr>
            <a:r>
              <a:rPr lang="ru-RU" sz="1200" b="1">
                <a:solidFill>
                  <a:srgbClr val="7030A0"/>
                </a:solidFill>
                <a:latin typeface="Arial Rounded MT Bold"/>
                <a:cs typeface="Arial"/>
              </a:rPr>
              <a:t>П</a:t>
            </a:r>
            <a:r>
              <a:rPr lang="ru-RU" sz="1200" b="1">
                <a:solidFill>
                  <a:srgbClr val="7030A0"/>
                </a:solidFill>
                <a:latin typeface="Arial Rounded MT Bold"/>
                <a:cs typeface="Arial"/>
              </a:rPr>
              <a:t>олное отсутствие связи на первых этажах зданий, в магазинах и торговых павильонах</a:t>
            </a:r>
            <a:endParaRPr/>
          </a:p>
        </p:txBody>
      </p:sp>
      <p:sp>
        <p:nvSpPr>
          <p:cNvPr id="14" name="Овальная выноска 13"/>
          <p:cNvSpPr/>
          <p:nvPr/>
        </p:nvSpPr>
        <p:spPr bwMode="auto">
          <a:xfrm>
            <a:off x="1732645" y="1970035"/>
            <a:ext cx="1515584" cy="1529121"/>
          </a:xfrm>
          <a:prstGeom prst="wedgeEllipseCallout">
            <a:avLst>
              <a:gd name="adj1" fmla="val 150006"/>
              <a:gd name="adj2" fmla="val -116919"/>
            </a:avLst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>
              <a:defRPr/>
            </a:pPr>
            <a:endParaRPr lang="ru-RU" sz="1600"/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7"/>
          <a:stretch/>
        </p:blipFill>
        <p:spPr bwMode="auto">
          <a:xfrm>
            <a:off x="909773" y="4317013"/>
            <a:ext cx="732638" cy="738105"/>
          </a:xfrm>
          <a:prstGeom prst="rect">
            <a:avLst/>
          </a:prstGeom>
        </p:spPr>
      </p:pic>
      <p:cxnSp>
        <p:nvCxnSpPr>
          <p:cNvPr id="6" name="Прямая соединительная линия 5"/>
          <p:cNvCxnSpPr>
            <a:cxnSpLocks/>
          </p:cNvCxnSpPr>
          <p:nvPr/>
        </p:nvCxnSpPr>
        <p:spPr bwMode="auto">
          <a:xfrm>
            <a:off x="760845" y="4782503"/>
            <a:ext cx="1043940" cy="381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Прямоугольник 15"/>
          <p:cNvSpPr/>
          <p:nvPr/>
        </p:nvSpPr>
        <p:spPr bwMode="auto">
          <a:xfrm>
            <a:off x="1642411" y="4506503"/>
            <a:ext cx="2728929" cy="32624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just" defTabSz="801975">
              <a:lnSpc>
                <a:spcPct val="95000"/>
              </a:lnSpc>
              <a:spcBef>
                <a:spcPts val="0"/>
              </a:spcBef>
              <a:defRPr/>
            </a:pPr>
            <a:r>
              <a:rPr lang="ru-RU" sz="800">
                <a:latin typeface="Calibri"/>
                <a:cs typeface="Calibri"/>
              </a:rPr>
              <a:t>В помещениях сигнал еще ниже на 10-15</a:t>
            </a:r>
            <a:r>
              <a:rPr lang="en-US" sz="800">
                <a:latin typeface="Calibri"/>
                <a:cs typeface="Calibri"/>
              </a:rPr>
              <a:t>dBm – </a:t>
            </a:r>
            <a:r>
              <a:rPr lang="ru-RU" sz="800">
                <a:latin typeface="Calibri"/>
                <a:cs typeface="Calibri"/>
              </a:rPr>
              <a:t>полный обрыв связи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41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0F83C6A9-09AF-44EB-BB3F-3943791E8916}" type="slidenum">
              <a:rPr lang="ru-RU">
                <a:solidFill>
                  <a:srgbClr val="000000"/>
                </a:solidFill>
              </a:rPr>
              <a:t>3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Овал 7"/>
          <p:cNvSpPr/>
          <p:nvPr/>
        </p:nvSpPr>
        <p:spPr bwMode="auto">
          <a:xfrm>
            <a:off x="111880" y="117035"/>
            <a:ext cx="358571" cy="34679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7" tIns="35964" rIns="71927" bIns="35964" rtlCol="0" anchor="t" anchorCtr="0"/>
          <a:lstStyle/>
          <a:p>
            <a:pPr algn="ctr">
              <a:defRPr/>
            </a:pPr>
            <a:endParaRPr lang="ru-RU" sz="1600">
              <a:solidFill>
                <a:srgbClr val="FFFFFF"/>
              </a:solidFill>
            </a:endParaRPr>
          </a:p>
        </p:txBody>
      </p:sp>
      <p:sp>
        <p:nvSpPr>
          <p:cNvPr id="9" name="Овал 8"/>
          <p:cNvSpPr/>
          <p:nvPr/>
        </p:nvSpPr>
        <p:spPr bwMode="auto">
          <a:xfrm>
            <a:off x="551202" y="117132"/>
            <a:ext cx="358571" cy="34679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7" tIns="35964" rIns="71927" bIns="35964" rtlCol="0" anchor="t" anchorCtr="0"/>
          <a:lstStyle/>
          <a:p>
            <a:pPr algn="ctr">
              <a:defRPr/>
            </a:pPr>
            <a:endParaRPr lang="ru-RU" sz="1600">
              <a:solidFill>
                <a:srgbClr val="FFFFFF"/>
              </a:solidFill>
            </a:endParaRPr>
          </a:p>
        </p:txBody>
      </p:sp>
      <p:sp>
        <p:nvSpPr>
          <p:cNvPr id="10" name="Textplatzhalter 8"/>
          <p:cNvSpPr txBox="1"/>
          <p:nvPr/>
        </p:nvSpPr>
        <p:spPr bwMode="auto">
          <a:xfrm>
            <a:off x="368301" y="1650933"/>
            <a:ext cx="2998442" cy="204476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685800">
              <a:lnSpc>
                <a:spcPct val="100000"/>
              </a:lnSpc>
              <a:spcBef>
                <a:spcPts val="750"/>
              </a:spcBef>
              <a:buFontTx/>
              <a:buNone/>
              <a:defRPr sz="12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/>
              <a:buNone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685800">
              <a:lnSpc>
                <a:spcPct val="100000"/>
              </a:lnSpc>
              <a:spcBef>
                <a:spcPts val="375"/>
              </a:spcBef>
              <a:buClr>
                <a:schemeClr val="bg1"/>
              </a:buClr>
              <a:buFont typeface="Arial"/>
              <a:buChar char="•"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358775" indent="-180000" algn="l" defTabSz="685800">
              <a:lnSpc>
                <a:spcPct val="100000"/>
              </a:lnSpc>
              <a:spcBef>
                <a:spcPts val="375"/>
              </a:spcBef>
              <a:buClr>
                <a:schemeClr val="bg1"/>
              </a:buClr>
              <a:buFont typeface="Arial"/>
              <a:buChar char="•"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541338" indent="-180000" algn="l" defTabSz="685800">
              <a:lnSpc>
                <a:spcPct val="100000"/>
              </a:lnSpc>
              <a:spcBef>
                <a:spcPts val="375"/>
              </a:spcBef>
              <a:buClr>
                <a:schemeClr val="bg1"/>
              </a:buClr>
              <a:buFont typeface="Arial"/>
              <a:buChar char="•"/>
              <a:defRPr sz="16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685800">
              <a:lnSpc>
                <a:spcPct val="100000"/>
              </a:lnSpc>
              <a:spcBef>
                <a:spcPts val="375"/>
              </a:spcBef>
              <a:buFont typeface="Arial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685800">
              <a:lnSpc>
                <a:spcPct val="100000"/>
              </a:lnSpc>
              <a:spcBef>
                <a:spcPts val="375"/>
              </a:spcBef>
              <a:buFont typeface="Arial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685800">
              <a:lnSpc>
                <a:spcPct val="100000"/>
              </a:lnSpc>
              <a:spcBef>
                <a:spcPts val="375"/>
              </a:spcBef>
              <a:buFont typeface="Arial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685800">
              <a:lnSpc>
                <a:spcPct val="100000"/>
              </a:lnSpc>
              <a:spcBef>
                <a:spcPts val="375"/>
              </a:spcBef>
              <a:buFont typeface="Arial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1600">
                <a:solidFill>
                  <a:srgbClr val="7030A0"/>
                </a:solidFill>
                <a:cs typeface="Arial"/>
              </a:rPr>
              <a:t>П</a:t>
            </a:r>
            <a:r>
              <a:rPr lang="ru-RU" sz="1600">
                <a:solidFill>
                  <a:srgbClr val="7030A0"/>
                </a:solidFill>
                <a:cs typeface="Arial"/>
              </a:rPr>
              <a:t>ри </a:t>
            </a:r>
            <a:r>
              <a:rPr lang="ru-RU" sz="1600">
                <a:solidFill>
                  <a:srgbClr val="7030A0"/>
                </a:solidFill>
                <a:cs typeface="Arial"/>
              </a:rPr>
              <a:t>составлении программы развития сети мы </a:t>
            </a:r>
            <a:r>
              <a:rPr lang="ru-RU" sz="1600">
                <a:solidFill>
                  <a:srgbClr val="7030A0"/>
                </a:solidFill>
                <a:cs typeface="Arial"/>
              </a:rPr>
              <a:t>опираемся </a:t>
            </a:r>
            <a:r>
              <a:rPr lang="ru-RU" sz="1600">
                <a:solidFill>
                  <a:srgbClr val="7030A0"/>
                </a:solidFill>
                <a:cs typeface="Arial"/>
              </a:rPr>
              <a:t>на </a:t>
            </a:r>
            <a:r>
              <a:rPr lang="ru-RU" sz="1600">
                <a:solidFill>
                  <a:srgbClr val="7030A0"/>
                </a:solidFill>
                <a:cs typeface="Arial"/>
              </a:rPr>
              <a:t>обращения абонентов. Жители Минусинска регулярно отправляют </a:t>
            </a:r>
            <a:r>
              <a:rPr lang="ru-RU" sz="1600">
                <a:solidFill>
                  <a:srgbClr val="7030A0"/>
                </a:solidFill>
                <a:cs typeface="Arial"/>
              </a:rPr>
              <a:t>в компанию </a:t>
            </a:r>
            <a:r>
              <a:rPr lang="ru-RU" sz="1600">
                <a:solidFill>
                  <a:srgbClr val="7030A0"/>
                </a:solidFill>
                <a:cs typeface="Arial"/>
              </a:rPr>
              <a:t>и </a:t>
            </a:r>
            <a:r>
              <a:rPr lang="ru-RU" sz="1600">
                <a:solidFill>
                  <a:srgbClr val="7030A0"/>
                </a:solidFill>
                <a:cs typeface="Arial"/>
              </a:rPr>
              <a:t>Минцифру</a:t>
            </a:r>
            <a:r>
              <a:rPr lang="ru-RU" sz="1600">
                <a:solidFill>
                  <a:srgbClr val="7030A0"/>
                </a:solidFill>
                <a:cs typeface="Arial"/>
              </a:rPr>
              <a:t> Красноярского края заявки </a:t>
            </a:r>
            <a:r>
              <a:rPr lang="ru-RU" sz="1600">
                <a:solidFill>
                  <a:srgbClr val="7030A0"/>
                </a:solidFill>
                <a:cs typeface="Arial"/>
              </a:rPr>
              <a:t>на улучшение </a:t>
            </a:r>
            <a:r>
              <a:rPr lang="ru-RU" sz="1600">
                <a:solidFill>
                  <a:srgbClr val="7030A0"/>
                </a:solidFill>
                <a:cs typeface="Arial"/>
              </a:rPr>
              <a:t>качества связи</a:t>
            </a:r>
            <a:endParaRPr lang="ru-RU" sz="1600">
              <a:solidFill>
                <a:srgbClr val="7030A0"/>
              </a:solidFill>
              <a:cs typeface="Arial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3494176" y="835079"/>
            <a:ext cx="5306756" cy="3536455"/>
          </a:xfrm>
          <a:prstGeom prst="rect">
            <a:avLst/>
          </a:prstGeom>
        </p:spPr>
      </p:pic>
      <p:sp>
        <p:nvSpPr>
          <p:cNvPr id="12" name="Скругленный прямоугольник 11"/>
          <p:cNvSpPr/>
          <p:nvPr/>
        </p:nvSpPr>
        <p:spPr bwMode="auto">
          <a:xfrm>
            <a:off x="969898" y="119798"/>
            <a:ext cx="7344008" cy="371529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>
              <a:defRPr/>
            </a:pPr>
            <a:r>
              <a:rPr lang="ru-RU" sz="1600">
                <a:solidFill>
                  <a:schemeClr val="bg2"/>
                </a:solidFill>
                <a:latin typeface="GT Walsheim v2 Manual Bold"/>
              </a:rPr>
              <a:t>В МегаФон и </a:t>
            </a:r>
            <a:r>
              <a:rPr lang="ru-RU" sz="1600">
                <a:solidFill>
                  <a:schemeClr val="bg2"/>
                </a:solidFill>
                <a:latin typeface="GT Walsheim v2 Manual Bold"/>
              </a:rPr>
              <a:t>Минцифру</a:t>
            </a:r>
            <a:r>
              <a:rPr lang="ru-RU" sz="1600">
                <a:solidFill>
                  <a:schemeClr val="bg2"/>
                </a:solidFill>
                <a:latin typeface="GT Walsheim v2 Manual Bold"/>
              </a:rPr>
              <a:t> поступают заявки на улучшение связи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42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0F83C6A9-09AF-44EB-BB3F-3943791E8916}" type="slidenum">
              <a:rPr lang="ru-RU">
                <a:solidFill>
                  <a:srgbClr val="000000"/>
                </a:solidFill>
              </a:rPr>
              <a:t>4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Овал 7"/>
          <p:cNvSpPr/>
          <p:nvPr/>
        </p:nvSpPr>
        <p:spPr bwMode="auto">
          <a:xfrm>
            <a:off x="111880" y="117035"/>
            <a:ext cx="358571" cy="34679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7" tIns="35964" rIns="71927" bIns="35964" rtlCol="0" anchor="t" anchorCtr="0"/>
          <a:lstStyle/>
          <a:p>
            <a:pPr algn="ctr">
              <a:defRPr/>
            </a:pPr>
            <a:endParaRPr lang="ru-RU" sz="1600">
              <a:solidFill>
                <a:srgbClr val="FFFFFF"/>
              </a:solidFill>
            </a:endParaRPr>
          </a:p>
        </p:txBody>
      </p:sp>
      <p:sp>
        <p:nvSpPr>
          <p:cNvPr id="9" name="Овал 8"/>
          <p:cNvSpPr/>
          <p:nvPr/>
        </p:nvSpPr>
        <p:spPr bwMode="auto">
          <a:xfrm>
            <a:off x="551202" y="117132"/>
            <a:ext cx="358571" cy="34679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7" tIns="35964" rIns="71927" bIns="35964" rtlCol="0" anchor="t" anchorCtr="0"/>
          <a:lstStyle/>
          <a:p>
            <a:pPr algn="ctr">
              <a:defRPr/>
            </a:pPr>
            <a:endParaRPr lang="ru-RU" sz="1600">
              <a:solidFill>
                <a:srgbClr val="FFFFFF"/>
              </a:solidFill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 bwMode="auto">
          <a:xfrm>
            <a:off x="990027" y="119798"/>
            <a:ext cx="3059458" cy="371529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>
              <a:defRPr/>
            </a:pPr>
            <a:r>
              <a:rPr lang="ru-RU" sz="1600">
                <a:solidFill>
                  <a:schemeClr val="bg2"/>
                </a:solidFill>
                <a:latin typeface="GT Walsheim v2 Manual Bold"/>
              </a:rPr>
              <a:t>Что такое базовая станция? </a:t>
            </a:r>
            <a:endParaRPr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943330" y="774699"/>
            <a:ext cx="1825269" cy="4053091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 bwMode="auto">
          <a:xfrm>
            <a:off x="3044370" y="726983"/>
            <a:ext cx="2569029" cy="267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801975">
              <a:lnSpc>
                <a:spcPct val="95000"/>
              </a:lnSpc>
              <a:spcBef>
                <a:spcPts val="0"/>
              </a:spcBef>
              <a:defRPr/>
            </a:pP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Направленная антенна - 3шт</a:t>
            </a:r>
            <a:endParaRPr/>
          </a:p>
        </p:txBody>
      </p:sp>
      <p:cxnSp>
        <p:nvCxnSpPr>
          <p:cNvPr id="11" name="Прямая со стрелкой 10"/>
          <p:cNvCxnSpPr>
            <a:cxnSpLocks/>
            <a:stCxn id="10" idx="1"/>
          </p:cNvCxnSpPr>
          <p:nvPr/>
        </p:nvCxnSpPr>
        <p:spPr bwMode="auto">
          <a:xfrm flipH="1">
            <a:off x="2062264" y="860866"/>
            <a:ext cx="982107" cy="53534"/>
          </a:xfrm>
          <a:prstGeom prst="straightConnector1">
            <a:avLst/>
          </a:prstGeom>
          <a:ln w="9525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 bwMode="auto">
          <a:xfrm>
            <a:off x="3006271" y="1734876"/>
            <a:ext cx="2569029" cy="7940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801975">
              <a:lnSpc>
                <a:spcPct val="95000"/>
              </a:lnSpc>
              <a:spcBef>
                <a:spcPts val="0"/>
              </a:spcBef>
              <a:defRPr/>
            </a:pP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Внешние </a:t>
            </a: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радиомодули</a:t>
            </a: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 </a:t>
            </a:r>
            <a:r>
              <a:rPr lang="en-US" sz="1200" b="1">
                <a:solidFill>
                  <a:srgbClr val="7030A0"/>
                </a:solidFill>
                <a:latin typeface="Calibri"/>
                <a:cs typeface="Calibri"/>
              </a:rPr>
              <a:t>(RRU - </a:t>
            </a: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 </a:t>
            </a:r>
            <a:r>
              <a:rPr lang="en-US" sz="1200" b="1">
                <a:solidFill>
                  <a:srgbClr val="7030A0"/>
                </a:solidFill>
                <a:latin typeface="Calibri"/>
                <a:cs typeface="Calibri"/>
              </a:rPr>
              <a:t>Remote radio unit) </a:t>
            </a: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приемо-передатчики </a:t>
            </a: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мощностью </a:t>
            </a: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10-40 Вт. Количество от 3х до 12 шт.</a:t>
            </a:r>
            <a:endParaRPr lang="ru-RU" sz="1200" b="1">
              <a:solidFill>
                <a:srgbClr val="7030A0"/>
              </a:solidFill>
              <a:latin typeface="Calibri"/>
              <a:cs typeface="Calibri"/>
            </a:endParaRPr>
          </a:p>
        </p:txBody>
      </p:sp>
      <p:cxnSp>
        <p:nvCxnSpPr>
          <p:cNvPr id="14" name="Прямая со стрелкой 13"/>
          <p:cNvCxnSpPr>
            <a:cxnSpLocks/>
          </p:cNvCxnSpPr>
          <p:nvPr/>
        </p:nvCxnSpPr>
        <p:spPr bwMode="auto">
          <a:xfrm flipH="1">
            <a:off x="2013227" y="1938609"/>
            <a:ext cx="980344" cy="150541"/>
          </a:xfrm>
          <a:prstGeom prst="straightConnector1">
            <a:avLst/>
          </a:prstGeom>
          <a:ln w="9525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 bwMode="auto">
          <a:xfrm>
            <a:off x="2961821" y="3176326"/>
            <a:ext cx="2168979" cy="7940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801975">
              <a:lnSpc>
                <a:spcPct val="95000"/>
              </a:lnSpc>
              <a:spcBef>
                <a:spcPts val="0"/>
              </a:spcBef>
              <a:defRPr/>
            </a:pP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Внутренний блок базовой станции </a:t>
            </a:r>
            <a:r>
              <a:rPr lang="en-US" sz="1200" b="1">
                <a:solidFill>
                  <a:srgbClr val="7030A0"/>
                </a:solidFill>
                <a:latin typeface="Calibri"/>
                <a:cs typeface="Calibri"/>
              </a:rPr>
              <a:t>(BBU</a:t>
            </a: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 –</a:t>
            </a:r>
            <a:r>
              <a:rPr lang="en-US" sz="1200" b="1">
                <a:solidFill>
                  <a:srgbClr val="7030A0"/>
                </a:solidFill>
                <a:latin typeface="Calibri"/>
                <a:cs typeface="Calibri"/>
              </a:rPr>
              <a:t> Baseband unit)</a:t>
            </a: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 </a:t>
            </a: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1шт и источник электропитания</a:t>
            </a:r>
            <a:endParaRPr/>
          </a:p>
        </p:txBody>
      </p:sp>
      <p:cxnSp>
        <p:nvCxnSpPr>
          <p:cNvPr id="16" name="Прямая со стрелкой 15"/>
          <p:cNvCxnSpPr>
            <a:cxnSpLocks/>
          </p:cNvCxnSpPr>
          <p:nvPr/>
        </p:nvCxnSpPr>
        <p:spPr bwMode="auto">
          <a:xfrm flipH="1">
            <a:off x="1981477" y="3386409"/>
            <a:ext cx="980344" cy="150541"/>
          </a:xfrm>
          <a:prstGeom prst="straightConnector1">
            <a:avLst/>
          </a:prstGeom>
          <a:ln w="9525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16"/>
          <p:cNvSpPr/>
          <p:nvPr/>
        </p:nvSpPr>
        <p:spPr bwMode="auto">
          <a:xfrm>
            <a:off x="5635558" y="564568"/>
            <a:ext cx="3274979" cy="2139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801975">
              <a:lnSpc>
                <a:spcPct val="95000"/>
              </a:lnSpc>
              <a:spcBef>
                <a:spcPts val="0"/>
              </a:spcBef>
              <a:defRPr/>
            </a:pPr>
            <a:r>
              <a:rPr lang="ru-RU" sz="1400" b="1">
                <a:solidFill>
                  <a:srgbClr val="00B050"/>
                </a:solidFill>
                <a:latin typeface="Calibri"/>
                <a:cs typeface="Calibri"/>
              </a:rPr>
              <a:t>Базовые станции это комплекс приемо-передающего оборудования</a:t>
            </a:r>
            <a:r>
              <a:rPr lang="ru-RU" sz="1400" b="1">
                <a:solidFill>
                  <a:srgbClr val="00B050"/>
                </a:solidFill>
                <a:latin typeface="Calibri"/>
                <a:cs typeface="Calibri"/>
              </a:rPr>
              <a:t>, </a:t>
            </a:r>
            <a:r>
              <a:rPr lang="ru-RU" sz="1400" b="1">
                <a:solidFill>
                  <a:srgbClr val="00B050"/>
                </a:solidFill>
                <a:latin typeface="Calibri"/>
                <a:cs typeface="Calibri"/>
              </a:rPr>
              <a:t>осуществляющие </a:t>
            </a:r>
            <a:r>
              <a:rPr lang="ru-RU" sz="1400" b="1">
                <a:solidFill>
                  <a:srgbClr val="00B050"/>
                </a:solidFill>
                <a:latin typeface="Calibri"/>
                <a:cs typeface="Calibri"/>
              </a:rPr>
              <a:t>связь с конечным абонентским устройством – сотовым </a:t>
            </a:r>
            <a:r>
              <a:rPr lang="ru-RU" sz="1400" b="1">
                <a:solidFill>
                  <a:srgbClr val="00B050"/>
                </a:solidFill>
                <a:latin typeface="Calibri"/>
                <a:cs typeface="Calibri"/>
              </a:rPr>
              <a:t>телефоном. Состоят из</a:t>
            </a:r>
            <a:r>
              <a:rPr lang="en-US" sz="1400" b="1">
                <a:solidFill>
                  <a:srgbClr val="00B050"/>
                </a:solidFill>
                <a:latin typeface="Calibri"/>
                <a:cs typeface="Calibri"/>
              </a:rPr>
              <a:t> </a:t>
            </a:r>
            <a:r>
              <a:rPr lang="ru-RU" sz="1400" b="1">
                <a:solidFill>
                  <a:srgbClr val="00B050"/>
                </a:solidFill>
                <a:latin typeface="Calibri"/>
                <a:cs typeface="Calibri"/>
              </a:rPr>
              <a:t>трёх антенн, приемопередатчиков (</a:t>
            </a:r>
            <a:r>
              <a:rPr lang="en-US" sz="1400" b="1">
                <a:solidFill>
                  <a:srgbClr val="00B050"/>
                </a:solidFill>
                <a:latin typeface="Calibri"/>
                <a:cs typeface="Calibri"/>
              </a:rPr>
              <a:t>RRU)</a:t>
            </a:r>
            <a:r>
              <a:rPr lang="ru-RU" sz="1400" b="1">
                <a:solidFill>
                  <a:srgbClr val="00B050"/>
                </a:solidFill>
                <a:latin typeface="Calibri"/>
                <a:cs typeface="Calibri"/>
              </a:rPr>
              <a:t> и внутреннего блока базовой станции (</a:t>
            </a:r>
            <a:r>
              <a:rPr lang="en-US" sz="1400" b="1">
                <a:solidFill>
                  <a:srgbClr val="00B050"/>
                </a:solidFill>
                <a:latin typeface="Calibri"/>
                <a:cs typeface="Calibri"/>
              </a:rPr>
              <a:t>BBU)</a:t>
            </a:r>
            <a:r>
              <a:rPr lang="ru-RU" sz="1400" b="1">
                <a:solidFill>
                  <a:srgbClr val="00B050"/>
                </a:solidFill>
                <a:latin typeface="Calibri"/>
                <a:cs typeface="Calibri"/>
              </a:rPr>
              <a:t>. Объединены в сеть при помощи волоконно-оптических или радиорелейных линий связи</a:t>
            </a:r>
            <a:endParaRPr/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5773588" y="2801566"/>
            <a:ext cx="2965277" cy="197685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43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3616662" y="4143982"/>
            <a:ext cx="662375" cy="666226"/>
          </a:xfrm>
          <a:prstGeom prst="rect">
            <a:avLst/>
          </a:prstGeom>
        </p:spPr>
      </p:pic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0F83C6A9-09AF-44EB-BB3F-3943791E8916}" type="slidenum">
              <a:rPr lang="ru-RU">
                <a:solidFill>
                  <a:srgbClr val="000000"/>
                </a:solidFill>
              </a:rPr>
              <a:t>5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Овал 7"/>
          <p:cNvSpPr/>
          <p:nvPr/>
        </p:nvSpPr>
        <p:spPr bwMode="auto">
          <a:xfrm>
            <a:off x="111880" y="117035"/>
            <a:ext cx="358571" cy="34679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7" tIns="35964" rIns="71927" bIns="35964" rtlCol="0" anchor="t" anchorCtr="0"/>
          <a:lstStyle/>
          <a:p>
            <a:pPr algn="ctr">
              <a:defRPr/>
            </a:pPr>
            <a:endParaRPr lang="ru-RU" sz="1600">
              <a:solidFill>
                <a:srgbClr val="FFFFFF"/>
              </a:solidFill>
            </a:endParaRPr>
          </a:p>
        </p:txBody>
      </p:sp>
      <p:sp>
        <p:nvSpPr>
          <p:cNvPr id="9" name="Овал 8"/>
          <p:cNvSpPr/>
          <p:nvPr/>
        </p:nvSpPr>
        <p:spPr bwMode="auto">
          <a:xfrm>
            <a:off x="494052" y="117132"/>
            <a:ext cx="358571" cy="34679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7" tIns="35964" rIns="71927" bIns="35964" rtlCol="0" anchor="t" anchorCtr="0"/>
          <a:lstStyle/>
          <a:p>
            <a:pPr algn="ctr">
              <a:defRPr/>
            </a:pPr>
            <a:endParaRPr lang="ru-RU" sz="1600">
              <a:solidFill>
                <a:srgbClr val="FFFFFF"/>
              </a:solidFill>
            </a:endParaRPr>
          </a:p>
        </p:txBody>
      </p:sp>
      <p:sp>
        <p:nvSpPr>
          <p:cNvPr id="28" name="Text Box 14"/>
          <p:cNvSpPr txBox="1">
            <a:spLocks noChangeArrowheads="1"/>
          </p:cNvSpPr>
          <p:nvPr/>
        </p:nvSpPr>
        <p:spPr bwMode="auto">
          <a:xfrm>
            <a:off x="609177" y="3505728"/>
            <a:ext cx="8249759" cy="136185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68500" tIns="34261" rIns="68500" bIns="34261">
            <a:spAutoFit/>
          </a:bodyPr>
          <a:lstStyle/>
          <a:p>
            <a:pPr algn="just" defTabSz="515501">
              <a:defRPr/>
            </a:pP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Для сотовой связи используются частоты </a:t>
            </a: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900/1800/2100/2600 МГц. </a:t>
            </a: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Это микроволновый диапазон, находящийся между радиоволнами и инфракрасным спектром. Излучение в данном диапазоне является неионизирующим</a:t>
            </a:r>
            <a:r>
              <a:rPr lang="en-US" sz="1200" b="1">
                <a:solidFill>
                  <a:srgbClr val="7030A0"/>
                </a:solidFill>
                <a:latin typeface="Calibri"/>
                <a:cs typeface="Calibri"/>
              </a:rPr>
              <a:t> </a:t>
            </a: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и не оказывает вреда на клетки </a:t>
            </a: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живых организмов. </a:t>
            </a: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В данном диапазоне работают сотовые телефоны, домашние </a:t>
            </a:r>
            <a:r>
              <a:rPr lang="en-US" sz="1200" b="1">
                <a:solidFill>
                  <a:srgbClr val="7030A0"/>
                </a:solidFill>
                <a:latin typeface="Calibri"/>
                <a:cs typeface="Calibri"/>
              </a:rPr>
              <a:t>Wi-Fi </a:t>
            </a: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роутеры (2450/5100/6000 МГц), СВЧ печи </a:t>
            </a: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(</a:t>
            </a: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2</a:t>
            </a:r>
            <a:r>
              <a:rPr lang="en-US" sz="1200" b="1">
                <a:solidFill>
                  <a:srgbClr val="7030A0"/>
                </a:solidFill>
                <a:latin typeface="Calibri"/>
                <a:cs typeface="Calibri"/>
              </a:rPr>
              <a:t>450</a:t>
            </a: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 МГц), </a:t>
            </a: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а</a:t>
            </a: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ппараты </a:t>
            </a: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микроволновой физиотерапии </a:t>
            </a: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(40000-78000 МГц).</a:t>
            </a:r>
            <a:endParaRPr/>
          </a:p>
          <a:p>
            <a:pPr algn="just" defTabSz="515501">
              <a:defRPr/>
            </a:pPr>
            <a:endParaRPr lang="ru-RU" sz="1200" b="1">
              <a:solidFill>
                <a:srgbClr val="7030A0"/>
              </a:solidFill>
              <a:latin typeface="Calibri"/>
              <a:cs typeface="Calibri"/>
            </a:endParaRPr>
          </a:p>
          <a:p>
            <a:pPr algn="just" defTabSz="515501">
              <a:defRPr/>
            </a:pP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Воздействие микроволн ощущается в виде тепла. Происходит нагрев при попадании молекул воды в СВЧ поле большой мощности (более сотен Ватт). Пример – микроволновая печь, где мощность составляет порядка 700 – 1000 Вт. </a:t>
            </a:r>
            <a:endParaRPr lang="ru-RU" sz="1200" b="1">
              <a:solidFill>
                <a:srgbClr val="7030A0"/>
              </a:solidFill>
              <a:latin typeface="Calibri"/>
              <a:cs typeface="Calibri"/>
            </a:endParaRPr>
          </a:p>
        </p:txBody>
      </p:sp>
      <p:grpSp>
        <p:nvGrpSpPr>
          <p:cNvPr id="34" name="Группа 33"/>
          <p:cNvGrpSpPr/>
          <p:nvPr/>
        </p:nvGrpSpPr>
        <p:grpSpPr bwMode="auto">
          <a:xfrm>
            <a:off x="687421" y="629056"/>
            <a:ext cx="7978626" cy="2821022"/>
            <a:chOff x="555840" y="742519"/>
            <a:chExt cx="8252879" cy="3246574"/>
          </a:xfrm>
        </p:grpSpPr>
        <p:pic>
          <p:nvPicPr>
            <p:cNvPr id="6" name="Рисунок 5"/>
            <p:cNvPicPr>
              <a:picLocks noChangeAspect="1"/>
            </p:cNvPicPr>
            <p:nvPr/>
          </p:nvPicPr>
          <p:blipFill>
            <a:blip r:embed="rId5"/>
            <a:stretch/>
          </p:blipFill>
          <p:spPr bwMode="auto">
            <a:xfrm>
              <a:off x="577516" y="742519"/>
              <a:ext cx="7982284" cy="2872497"/>
            </a:xfrm>
            <a:prstGeom prst="rect">
              <a:avLst/>
            </a:prstGeom>
          </p:spPr>
        </p:pic>
        <p:sp>
          <p:nvSpPr>
            <p:cNvPr id="16" name="Скругленный прямоугольник 15"/>
            <p:cNvSpPr/>
            <p:nvPr/>
          </p:nvSpPr>
          <p:spPr bwMode="auto">
            <a:xfrm>
              <a:off x="5909732" y="3596333"/>
              <a:ext cx="2898987" cy="371529"/>
            </a:xfrm>
            <a:prstGeom prst="roundRect">
              <a:avLst>
                <a:gd name="adj" fmla="val 16667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 anchorCtr="0"/>
            <a:lstStyle/>
            <a:p>
              <a:pPr algn="ctr">
                <a:defRPr/>
              </a:pPr>
              <a:r>
                <a:rPr lang="ru-RU" sz="1200" b="1">
                  <a:solidFill>
                    <a:srgbClr val="FF0000"/>
                  </a:solidFill>
                  <a:latin typeface="Calibri"/>
                  <a:cs typeface="Calibri"/>
                </a:rPr>
                <a:t>и</a:t>
              </a:r>
              <a:r>
                <a:rPr lang="ru-RU" sz="1200" b="1">
                  <a:solidFill>
                    <a:srgbClr val="FF0000"/>
                  </a:solidFill>
                  <a:latin typeface="Calibri"/>
                  <a:cs typeface="Calibri"/>
                </a:rPr>
                <a:t>онизирующее излучение </a:t>
              </a:r>
              <a:endParaRPr/>
            </a:p>
          </p:txBody>
        </p:sp>
        <p:sp>
          <p:nvSpPr>
            <p:cNvPr id="18" name="Скругленный прямоугольник 17"/>
            <p:cNvSpPr/>
            <p:nvPr/>
          </p:nvSpPr>
          <p:spPr bwMode="auto">
            <a:xfrm>
              <a:off x="555840" y="3617565"/>
              <a:ext cx="5159701" cy="371529"/>
            </a:xfrm>
            <a:prstGeom prst="roundRect">
              <a:avLst>
                <a:gd name="adj" fmla="val 16667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 anchorCtr="0"/>
            <a:lstStyle/>
            <a:p>
              <a:pPr algn="ctr">
                <a:defRPr/>
              </a:pPr>
              <a:r>
                <a:rPr lang="ru-RU" sz="1200" b="1">
                  <a:solidFill>
                    <a:srgbClr val="00B050"/>
                  </a:solidFill>
                  <a:latin typeface="Calibri"/>
                  <a:cs typeface="Calibri"/>
                </a:rPr>
                <a:t>неионизирующее излучение </a:t>
              </a:r>
              <a:endParaRPr/>
            </a:p>
          </p:txBody>
        </p:sp>
      </p:grpSp>
      <p:pic>
        <p:nvPicPr>
          <p:cNvPr id="19" name="Picture 580"/>
          <p:cNvPicPr>
            <a:picLocks noChangeAspect="1"/>
          </p:cNvPicPr>
          <p:nvPr/>
        </p:nvPicPr>
        <p:blipFill>
          <a:blip r:embed="rId6">
            <a:alphaModFix amt="35000"/>
          </a:blip>
          <a:srcRect l="29398" t="8741" r="100" b="27"/>
          <a:stretch/>
        </p:blipFill>
        <p:spPr bwMode="ltGray">
          <a:xfrm flipH="1">
            <a:off x="5396905" y="0"/>
            <a:ext cx="432619" cy="3365770"/>
          </a:xfrm>
          <a:prstGeom prst="rect">
            <a:avLst/>
          </a:prstGeom>
        </p:spPr>
      </p:pic>
      <p:sp>
        <p:nvSpPr>
          <p:cNvPr id="21" name="Скругленный прямоугольник 20"/>
          <p:cNvSpPr/>
          <p:nvPr/>
        </p:nvSpPr>
        <p:spPr bwMode="auto">
          <a:xfrm>
            <a:off x="905720" y="119798"/>
            <a:ext cx="5054093" cy="371529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>
              <a:defRPr/>
            </a:pPr>
            <a:r>
              <a:rPr lang="ru-RU" sz="1600">
                <a:solidFill>
                  <a:schemeClr val="bg2"/>
                </a:solidFill>
                <a:latin typeface="GT Walsheim v2 Manual Bold"/>
              </a:rPr>
              <a:t>На каких частотах работают базовые станции? </a:t>
            </a:r>
            <a:endParaRPr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3072384" y="629920"/>
            <a:ext cx="347472" cy="2491232"/>
          </a:xfrm>
          <a:prstGeom prst="rect">
            <a:avLst/>
          </a:prstGeom>
          <a:solidFill>
            <a:schemeClr val="accent1">
              <a:alpha val="2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>
              <a:defRPr/>
            </a:pPr>
            <a:endParaRPr lang="ru-RU" sz="160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44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0F83C6A9-09AF-44EB-BB3F-3943791E8916}" type="slidenum">
              <a:rPr lang="ru-RU">
                <a:solidFill>
                  <a:srgbClr val="000000"/>
                </a:solidFill>
              </a:rPr>
              <a:t>6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Овал 7"/>
          <p:cNvSpPr/>
          <p:nvPr/>
        </p:nvSpPr>
        <p:spPr bwMode="auto">
          <a:xfrm>
            <a:off x="111880" y="117035"/>
            <a:ext cx="358571" cy="34679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7" tIns="35964" rIns="71927" bIns="35964" rtlCol="0" anchor="t" anchorCtr="0"/>
          <a:lstStyle/>
          <a:p>
            <a:pPr algn="ctr">
              <a:defRPr/>
            </a:pPr>
            <a:endParaRPr lang="ru-RU" sz="1600">
              <a:solidFill>
                <a:srgbClr val="FFFFFF"/>
              </a:solidFill>
            </a:endParaRPr>
          </a:p>
        </p:txBody>
      </p:sp>
      <p:sp>
        <p:nvSpPr>
          <p:cNvPr id="9" name="Овал 8"/>
          <p:cNvSpPr/>
          <p:nvPr/>
        </p:nvSpPr>
        <p:spPr bwMode="auto">
          <a:xfrm>
            <a:off x="551202" y="117132"/>
            <a:ext cx="358571" cy="34679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7" tIns="35964" rIns="71927" bIns="35964" rtlCol="0" anchor="t" anchorCtr="0"/>
          <a:lstStyle/>
          <a:p>
            <a:pPr algn="ctr">
              <a:defRPr/>
            </a:pPr>
            <a:endParaRPr lang="ru-RU" sz="1600">
              <a:solidFill>
                <a:srgbClr val="FFFFFF"/>
              </a:solidFill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1026228" y="960862"/>
            <a:ext cx="2735136" cy="2053669"/>
          </a:xfrm>
          <a:prstGeom prst="rect">
            <a:avLst/>
          </a:prstGeom>
        </p:spPr>
      </p:pic>
      <p:sp>
        <p:nvSpPr>
          <p:cNvPr id="17" name="Text Box 14"/>
          <p:cNvSpPr txBox="1">
            <a:spLocks noChangeArrowheads="1"/>
          </p:cNvSpPr>
          <p:nvPr/>
        </p:nvSpPr>
        <p:spPr bwMode="auto">
          <a:xfrm>
            <a:off x="3980329" y="685677"/>
            <a:ext cx="4859065" cy="17927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68500" tIns="34261" rIns="68500" bIns="34261">
            <a:spAutoFit/>
          </a:bodyPr>
          <a:lstStyle/>
          <a:p>
            <a:pPr algn="just" defTabSz="515501">
              <a:defRPr/>
            </a:pPr>
            <a:r>
              <a:rPr lang="ru-RU" sz="1600" b="1">
                <a:solidFill>
                  <a:srgbClr val="7030A0"/>
                </a:solidFill>
                <a:latin typeface="Calibri"/>
                <a:cs typeface="Calibri"/>
              </a:rPr>
              <a:t>Основа любой микроволновой печи это электровакуумный прибор – магнетрон. Он </a:t>
            </a:r>
            <a:r>
              <a:rPr lang="ru-RU" sz="1600" b="1">
                <a:solidFill>
                  <a:srgbClr val="7030A0"/>
                </a:solidFill>
                <a:latin typeface="Calibri"/>
                <a:cs typeface="Calibri"/>
              </a:rPr>
              <a:t>и</a:t>
            </a:r>
            <a:r>
              <a:rPr lang="ru-RU" sz="1600" b="1">
                <a:solidFill>
                  <a:srgbClr val="7030A0"/>
                </a:solidFill>
                <a:latin typeface="Calibri"/>
                <a:cs typeface="Calibri"/>
              </a:rPr>
              <a:t>злучает электромагнитные волны на частоте 245</a:t>
            </a:r>
            <a:r>
              <a:rPr lang="en-US" sz="1600" b="1">
                <a:solidFill>
                  <a:srgbClr val="7030A0"/>
                </a:solidFill>
                <a:latin typeface="Calibri"/>
                <a:cs typeface="Calibri"/>
              </a:rPr>
              <a:t>0</a:t>
            </a:r>
            <a:r>
              <a:rPr lang="ru-RU" sz="1600" b="1">
                <a:solidFill>
                  <a:srgbClr val="7030A0"/>
                </a:solidFill>
                <a:latin typeface="Calibri"/>
                <a:cs typeface="Calibri"/>
              </a:rPr>
              <a:t> МГц, близкой к частоте оборудования сотовой связи. При этом</a:t>
            </a:r>
            <a:r>
              <a:rPr lang="ru-RU" sz="1600" b="1">
                <a:solidFill>
                  <a:srgbClr val="7030A0"/>
                </a:solidFill>
                <a:latin typeface="Calibri"/>
                <a:cs typeface="Calibri"/>
              </a:rPr>
              <a:t> </a:t>
            </a:r>
            <a:r>
              <a:rPr lang="ru-RU" sz="1600" b="1">
                <a:solidFill>
                  <a:srgbClr val="7030A0"/>
                </a:solidFill>
                <a:latin typeface="Calibri"/>
                <a:cs typeface="Calibri"/>
              </a:rPr>
              <a:t>выходная мощность магнетрона в десятки раз выше, чем мощность  передатчика </a:t>
            </a:r>
            <a:r>
              <a:rPr lang="en-US" sz="1600" b="1">
                <a:solidFill>
                  <a:srgbClr val="7030A0"/>
                </a:solidFill>
                <a:latin typeface="Calibri"/>
                <a:cs typeface="Calibri"/>
              </a:rPr>
              <a:t>RRU</a:t>
            </a:r>
            <a:r>
              <a:rPr lang="en-US" sz="1600" b="1">
                <a:solidFill>
                  <a:srgbClr val="7030A0"/>
                </a:solidFill>
                <a:latin typeface="Calibri"/>
                <a:cs typeface="Calibri"/>
              </a:rPr>
              <a:t> </a:t>
            </a:r>
            <a:r>
              <a:rPr lang="ru-RU" sz="1600" b="1">
                <a:solidFill>
                  <a:srgbClr val="7030A0"/>
                </a:solidFill>
                <a:latin typeface="Calibri"/>
                <a:cs typeface="Calibri"/>
              </a:rPr>
              <a:t>и составляет в среднем 700 – 1000 Вт.</a:t>
            </a:r>
            <a:endParaRPr lang="en-US" sz="1600" b="1">
              <a:solidFill>
                <a:srgbClr val="7030A0"/>
              </a:solidFill>
              <a:latin typeface="Calibri"/>
              <a:cs typeface="Calibri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 bwMode="auto">
          <a:xfrm>
            <a:off x="1085662" y="116075"/>
            <a:ext cx="3836533" cy="371529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>
              <a:defRPr/>
            </a:pPr>
            <a:r>
              <a:rPr lang="ru-RU" sz="1600">
                <a:solidFill>
                  <a:schemeClr val="bg2"/>
                </a:solidFill>
                <a:latin typeface="GT Walsheim v2 Manual Bold"/>
              </a:rPr>
              <a:t>Как происходит нагрев в СВЧ поле?</a:t>
            </a:r>
            <a:endParaRPr/>
          </a:p>
        </p:txBody>
      </p:sp>
      <p:sp>
        <p:nvSpPr>
          <p:cNvPr id="20" name="Прямоугольник 19"/>
          <p:cNvSpPr/>
          <p:nvPr/>
        </p:nvSpPr>
        <p:spPr bwMode="auto">
          <a:xfrm>
            <a:off x="750215" y="3805637"/>
            <a:ext cx="3342874" cy="56163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68500" tIns="34261" rIns="68500" bIns="34261">
            <a:spAutoFit/>
          </a:bodyPr>
          <a:lstStyle/>
          <a:p>
            <a:pPr algn="ctr" defTabSz="515501">
              <a:defRPr/>
            </a:pPr>
            <a:r>
              <a:rPr lang="ru-RU" sz="1600" b="1">
                <a:solidFill>
                  <a:srgbClr val="7030A0"/>
                </a:solidFill>
                <a:latin typeface="Calibri"/>
                <a:cs typeface="Calibri"/>
              </a:rPr>
              <a:t>Частота 245</a:t>
            </a:r>
            <a:r>
              <a:rPr lang="en-US" sz="1600" b="1">
                <a:solidFill>
                  <a:srgbClr val="7030A0"/>
                </a:solidFill>
                <a:latin typeface="Calibri"/>
                <a:cs typeface="Calibri"/>
              </a:rPr>
              <a:t>0</a:t>
            </a:r>
            <a:r>
              <a:rPr lang="ru-RU" sz="1600" b="1">
                <a:solidFill>
                  <a:srgbClr val="7030A0"/>
                </a:solidFill>
                <a:latin typeface="Calibri"/>
                <a:cs typeface="Calibri"/>
              </a:rPr>
              <a:t> МГц</a:t>
            </a:r>
            <a:endParaRPr/>
          </a:p>
          <a:p>
            <a:pPr algn="ctr" defTabSz="515501">
              <a:defRPr/>
            </a:pPr>
            <a:r>
              <a:rPr lang="ru-RU" sz="1600" b="1">
                <a:solidFill>
                  <a:srgbClr val="7030A0"/>
                </a:solidFill>
                <a:latin typeface="Calibri"/>
                <a:cs typeface="Calibri"/>
              </a:rPr>
              <a:t>Мощность </a:t>
            </a:r>
            <a:r>
              <a:rPr lang="ru-RU" sz="1600" b="1">
                <a:solidFill>
                  <a:srgbClr val="7030A0"/>
                </a:solidFill>
                <a:latin typeface="Arial"/>
                <a:cs typeface="Arial"/>
              </a:rPr>
              <a:t>~</a:t>
            </a:r>
            <a:r>
              <a:rPr lang="ru-RU" sz="1600" b="1">
                <a:solidFill>
                  <a:srgbClr val="7030A0"/>
                </a:solidFill>
                <a:latin typeface="Calibri"/>
                <a:cs typeface="Calibri"/>
              </a:rPr>
              <a:t>1000Вт</a:t>
            </a:r>
            <a:endParaRPr lang="ru-RU" sz="1600" b="1">
              <a:solidFill>
                <a:srgbClr val="7030A0"/>
              </a:solidFill>
              <a:latin typeface="Calibri"/>
              <a:cs typeface="Calibri"/>
            </a:endParaRPr>
          </a:p>
        </p:txBody>
      </p:sp>
      <p:sp>
        <p:nvSpPr>
          <p:cNvPr id="2" name="Овальная выноска 1"/>
          <p:cNvSpPr/>
          <p:nvPr/>
        </p:nvSpPr>
        <p:spPr bwMode="auto">
          <a:xfrm>
            <a:off x="5088834" y="2928730"/>
            <a:ext cx="2173357" cy="2110340"/>
          </a:xfrm>
          <a:prstGeom prst="wedgeEllipseCallout">
            <a:avLst>
              <a:gd name="adj1" fmla="val -133622"/>
              <a:gd name="adj2" fmla="val -87795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>
              <a:defRPr/>
            </a:pPr>
            <a:endParaRPr lang="ru-RU" sz="160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5503318" y="3282315"/>
            <a:ext cx="1319397" cy="1395422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45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0F83C6A9-09AF-44EB-BB3F-3943791E8916}" type="slidenum">
              <a:rPr lang="ru-RU">
                <a:solidFill>
                  <a:srgbClr val="000000"/>
                </a:solidFill>
              </a:rPr>
              <a:t>7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Овал 7"/>
          <p:cNvSpPr/>
          <p:nvPr/>
        </p:nvSpPr>
        <p:spPr bwMode="auto">
          <a:xfrm>
            <a:off x="111880" y="117035"/>
            <a:ext cx="358571" cy="34679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7" tIns="35964" rIns="71927" bIns="35964" rtlCol="0" anchor="t" anchorCtr="0"/>
          <a:lstStyle/>
          <a:p>
            <a:pPr algn="ctr">
              <a:defRPr/>
            </a:pPr>
            <a:endParaRPr lang="ru-RU" sz="1600">
              <a:solidFill>
                <a:srgbClr val="FFFFFF"/>
              </a:solidFill>
            </a:endParaRPr>
          </a:p>
        </p:txBody>
      </p:sp>
      <p:sp>
        <p:nvSpPr>
          <p:cNvPr id="9" name="Овал 8"/>
          <p:cNvSpPr/>
          <p:nvPr/>
        </p:nvSpPr>
        <p:spPr bwMode="auto">
          <a:xfrm>
            <a:off x="551202" y="117132"/>
            <a:ext cx="358571" cy="34679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7" tIns="35964" rIns="71927" bIns="35964" rtlCol="0" anchor="t" anchorCtr="0"/>
          <a:lstStyle/>
          <a:p>
            <a:pPr algn="ctr">
              <a:defRPr/>
            </a:pPr>
            <a:endParaRPr lang="ru-RU" sz="1600">
              <a:solidFill>
                <a:srgbClr val="FFFFFF"/>
              </a:solidFill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 bwMode="auto">
          <a:xfrm>
            <a:off x="1085662" y="116075"/>
            <a:ext cx="5256770" cy="371529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>
              <a:defRPr/>
            </a:pPr>
            <a:r>
              <a:rPr lang="ru-RU" sz="1600">
                <a:solidFill>
                  <a:schemeClr val="bg2"/>
                </a:solidFill>
                <a:latin typeface="GT Walsheim v2 Manual Bold"/>
              </a:rPr>
              <a:t>Мощность передатчика </a:t>
            </a:r>
            <a:r>
              <a:rPr lang="en-US" sz="1600">
                <a:solidFill>
                  <a:schemeClr val="bg2"/>
                </a:solidFill>
                <a:latin typeface="GT Walsheim v2 Manual Bold"/>
              </a:rPr>
              <a:t>RRU </a:t>
            </a:r>
            <a:r>
              <a:rPr lang="ru-RU" sz="1600">
                <a:solidFill>
                  <a:schemeClr val="bg2"/>
                </a:solidFill>
                <a:latin typeface="GT Walsheim v2 Manual Bold"/>
              </a:rPr>
              <a:t>на базовой станции</a:t>
            </a:r>
            <a:endParaRPr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431314" y="1428723"/>
            <a:ext cx="2084908" cy="1636401"/>
          </a:xfrm>
          <a:prstGeom prst="rect">
            <a:avLst/>
          </a:prstGeom>
        </p:spPr>
      </p:pic>
      <p:sp>
        <p:nvSpPr>
          <p:cNvPr id="14" name="Text Box 14"/>
          <p:cNvSpPr txBox="1">
            <a:spLocks noChangeArrowheads="1"/>
          </p:cNvSpPr>
          <p:nvPr/>
        </p:nvSpPr>
        <p:spPr bwMode="auto">
          <a:xfrm>
            <a:off x="4345021" y="765361"/>
            <a:ext cx="4572000" cy="11771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68500" tIns="34261" rIns="68500" bIns="34261">
            <a:spAutoFit/>
          </a:bodyPr>
          <a:lstStyle>
            <a:defPPr>
              <a:defRPr lang="en-US"/>
            </a:defPPr>
            <a:lvl1pPr defTabSz="515501">
              <a:defRPr sz="1200" b="1">
                <a:solidFill>
                  <a:srgbClr val="7030A0"/>
                </a:solidFill>
                <a:cs typeface="Arial"/>
              </a:defRPr>
            </a:lvl1pPr>
          </a:lstStyle>
          <a:p>
            <a:pPr algn="just">
              <a:defRPr/>
            </a:pPr>
            <a:r>
              <a:rPr lang="ru-RU">
                <a:latin typeface="Calibri"/>
                <a:cs typeface="Calibri"/>
              </a:rPr>
              <a:t>Приемопередатчик </a:t>
            </a:r>
            <a:r>
              <a:rPr lang="ru-RU">
                <a:latin typeface="Calibri"/>
                <a:cs typeface="Calibri"/>
              </a:rPr>
              <a:t>базовой станции (</a:t>
            </a:r>
            <a:r>
              <a:rPr lang="en-US">
                <a:latin typeface="Calibri"/>
                <a:cs typeface="Calibri"/>
              </a:rPr>
              <a:t>RRU)</a:t>
            </a:r>
            <a:r>
              <a:rPr lang="ru-RU">
                <a:latin typeface="Calibri"/>
                <a:cs typeface="Calibri"/>
              </a:rPr>
              <a:t> </a:t>
            </a:r>
            <a:r>
              <a:rPr lang="ru-RU">
                <a:latin typeface="Calibri"/>
                <a:cs typeface="Calibri"/>
              </a:rPr>
              <a:t>работает </a:t>
            </a:r>
            <a:r>
              <a:rPr lang="ru-RU">
                <a:latin typeface="Calibri"/>
                <a:cs typeface="Calibri"/>
              </a:rPr>
              <a:t>на </a:t>
            </a:r>
            <a:r>
              <a:rPr lang="ru-RU">
                <a:latin typeface="Calibri"/>
                <a:cs typeface="Calibri"/>
              </a:rPr>
              <a:t>частотах близких к частоте микроволновки: 900/1800/</a:t>
            </a:r>
            <a:r>
              <a:rPr lang="en-US">
                <a:latin typeface="Calibri"/>
                <a:cs typeface="Calibri"/>
              </a:rPr>
              <a:t>2100/</a:t>
            </a:r>
            <a:r>
              <a:rPr lang="ru-RU">
                <a:latin typeface="Calibri"/>
                <a:cs typeface="Calibri"/>
              </a:rPr>
              <a:t>2600 МГц. При этом </a:t>
            </a:r>
            <a:r>
              <a:rPr lang="ru-RU">
                <a:latin typeface="Calibri"/>
                <a:cs typeface="Calibri"/>
              </a:rPr>
              <a:t>выходная мощность </a:t>
            </a:r>
            <a:r>
              <a:rPr lang="ru-RU">
                <a:latin typeface="Calibri"/>
                <a:cs typeface="Calibri"/>
              </a:rPr>
              <a:t>в десятки раз ниже и составляет порядка 10 </a:t>
            </a:r>
            <a:r>
              <a:rPr lang="ru-RU">
                <a:latin typeface="Calibri"/>
                <a:cs typeface="Calibri"/>
              </a:rPr>
              <a:t>– </a:t>
            </a:r>
            <a:r>
              <a:rPr lang="ru-RU">
                <a:latin typeface="Calibri"/>
                <a:cs typeface="Calibri"/>
              </a:rPr>
              <a:t>40 Вт. Тепловой эффект от передатчика сотовой связи не ощутим ни от передатчика, ни на соединительных кабелях, ни на антенне.</a:t>
            </a:r>
            <a:endParaRPr lang="en-US">
              <a:latin typeface="Calibri"/>
              <a:cs typeface="Calibri"/>
            </a:endParaRPr>
          </a:p>
        </p:txBody>
      </p:sp>
      <p:sp>
        <p:nvSpPr>
          <p:cNvPr id="16" name="Прямоугольник 15"/>
          <p:cNvSpPr/>
          <p:nvPr/>
        </p:nvSpPr>
        <p:spPr bwMode="auto">
          <a:xfrm>
            <a:off x="621510" y="747823"/>
            <a:ext cx="2160601" cy="6231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68500" tIns="34261" rIns="68500" bIns="34261">
            <a:spAutoFit/>
          </a:bodyPr>
          <a:lstStyle/>
          <a:p>
            <a:pPr defTabSz="515501">
              <a:defRPr/>
            </a:pPr>
            <a:r>
              <a:rPr lang="ru-RU" sz="3600" b="1">
                <a:solidFill>
                  <a:srgbClr val="7030A0"/>
                </a:solidFill>
                <a:cs typeface="Arial"/>
              </a:rPr>
              <a:t>10-40Вт</a:t>
            </a:r>
            <a:endParaRPr lang="ru-RU" sz="3600" b="1">
              <a:solidFill>
                <a:srgbClr val="7030A0"/>
              </a:solidFill>
              <a:cs typeface="Arial"/>
            </a:endParaRPr>
          </a:p>
        </p:txBody>
      </p:sp>
      <p:sp>
        <p:nvSpPr>
          <p:cNvPr id="17" name="Прямоугольник 16"/>
          <p:cNvSpPr/>
          <p:nvPr/>
        </p:nvSpPr>
        <p:spPr bwMode="auto">
          <a:xfrm>
            <a:off x="4351507" y="1992000"/>
            <a:ext cx="4578484" cy="26545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68500" tIns="34261" rIns="68500" bIns="34261">
            <a:spAutoFit/>
          </a:bodyPr>
          <a:lstStyle/>
          <a:p>
            <a:pPr algn="just" defTabSz="515501">
              <a:defRPr/>
            </a:pP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Согласно санитарным правилам </a:t>
            </a: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и </a:t>
            </a: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нормам СанПиН 2.1.8/2.2.4.1393-03 «Гигиенические требования к размещению и эксплуатации передающих радиотехнических объектов» п.3.13, для передающего радиотехнического оборудования мощностью не более 10 Вт, работающего в диапазоне 30 </a:t>
            </a: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МГц – 300 ГГц </a:t>
            </a:r>
            <a:r>
              <a:rPr lang="ru-RU" sz="1200" b="1" u="sng">
                <a:solidFill>
                  <a:srgbClr val="7030A0"/>
                </a:solidFill>
                <a:latin typeface="Calibri"/>
                <a:cs typeface="Calibri"/>
              </a:rPr>
              <a:t>не требуется</a:t>
            </a: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 получения санитарно-эпидемиологического заключения.</a:t>
            </a:r>
            <a:endParaRPr/>
          </a:p>
          <a:p>
            <a:pPr algn="just" defTabSz="515501">
              <a:defRPr/>
            </a:pPr>
            <a:endParaRPr lang="ru-RU" sz="1200" b="1">
              <a:solidFill>
                <a:srgbClr val="7030A0"/>
              </a:solidFill>
              <a:latin typeface="Calibri"/>
              <a:cs typeface="Calibri"/>
            </a:endParaRPr>
          </a:p>
          <a:p>
            <a:pPr algn="just" defTabSz="515501">
              <a:defRPr/>
            </a:pPr>
            <a:endParaRPr lang="ru-RU" sz="1200" b="1">
              <a:solidFill>
                <a:srgbClr val="7030A0"/>
              </a:solidFill>
              <a:latin typeface="Calibri"/>
              <a:cs typeface="Calibri"/>
            </a:endParaRPr>
          </a:p>
          <a:p>
            <a:pPr algn="just" defTabSz="515501">
              <a:defRPr/>
            </a:pP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Поскольку мощность </a:t>
            </a:r>
            <a:r>
              <a:rPr lang="en-US" sz="1200" b="1">
                <a:solidFill>
                  <a:srgbClr val="7030A0"/>
                </a:solidFill>
                <a:latin typeface="Calibri"/>
                <a:cs typeface="Calibri"/>
              </a:rPr>
              <a:t>RRU </a:t>
            </a: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превышает 10 Вт, на каждую базовую станцию сотовой связи оформляется проектная документация «Расчет санитарно-защитной зоны и зоны ограничения застройки», выполняется экспертиза проекта и выдается санитарно-эпидемиологическое заключение </a:t>
            </a: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Роспотребнадзора</a:t>
            </a: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.</a:t>
            </a:r>
            <a:endParaRPr lang="ru-RU" sz="1200" b="1">
              <a:solidFill>
                <a:srgbClr val="7030A0"/>
              </a:solidFill>
              <a:latin typeface="Calibri"/>
              <a:cs typeface="Calibri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1943518" y="3130581"/>
            <a:ext cx="1991028" cy="1594408"/>
          </a:xfrm>
          <a:prstGeom prst="rect">
            <a:avLst/>
          </a:prstGeom>
        </p:spPr>
      </p:pic>
      <p:sp>
        <p:nvSpPr>
          <p:cNvPr id="19" name="Прямоугольник 18"/>
          <p:cNvSpPr/>
          <p:nvPr/>
        </p:nvSpPr>
        <p:spPr bwMode="auto">
          <a:xfrm>
            <a:off x="2414641" y="2106452"/>
            <a:ext cx="1839049" cy="6231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68500" tIns="34261" rIns="68500" bIns="34261">
            <a:spAutoFit/>
          </a:bodyPr>
          <a:lstStyle/>
          <a:p>
            <a:pPr defTabSz="515501">
              <a:defRPr/>
            </a:pPr>
            <a:r>
              <a:rPr lang="ru-RU" sz="3600" b="1">
                <a:solidFill>
                  <a:srgbClr val="7030A0"/>
                </a:solidFill>
                <a:latin typeface="Arial"/>
                <a:cs typeface="Arial"/>
              </a:rPr>
              <a:t>0,2-</a:t>
            </a:r>
            <a:r>
              <a:rPr lang="ru-RU" sz="3600" b="1">
                <a:solidFill>
                  <a:srgbClr val="7030A0"/>
                </a:solidFill>
                <a:cs typeface="Arial"/>
              </a:rPr>
              <a:t>2Вт</a:t>
            </a:r>
            <a:endParaRPr lang="ru-RU" sz="3600" b="1">
              <a:solidFill>
                <a:srgbClr val="7030A0"/>
              </a:solidFill>
              <a:cs typeface="Arial"/>
            </a:endParaRPr>
          </a:p>
        </p:txBody>
      </p:sp>
      <p:sp>
        <p:nvSpPr>
          <p:cNvPr id="20" name="Прямоугольник 19"/>
          <p:cNvSpPr/>
          <p:nvPr/>
        </p:nvSpPr>
        <p:spPr bwMode="auto">
          <a:xfrm>
            <a:off x="2273100" y="2645040"/>
            <a:ext cx="2078407" cy="4431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801975">
              <a:lnSpc>
                <a:spcPct val="95000"/>
              </a:lnSpc>
              <a:spcBef>
                <a:spcPts val="0"/>
              </a:spcBef>
              <a:defRPr/>
            </a:pP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В зависимости от диапазона и удаленности от БС</a:t>
            </a:r>
            <a:endParaRPr lang="ru-RU" sz="1200" b="1">
              <a:solidFill>
                <a:srgbClr val="7030A0"/>
              </a:solidFill>
              <a:latin typeface="Calibri"/>
              <a:cs typeface="Calibri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46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0F83C6A9-09AF-44EB-BB3F-3943791E8916}" type="slidenum">
              <a:rPr lang="ru-RU">
                <a:solidFill>
                  <a:srgbClr val="000000"/>
                </a:solidFill>
              </a:rPr>
              <a:t>8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Овал 7"/>
          <p:cNvSpPr/>
          <p:nvPr/>
        </p:nvSpPr>
        <p:spPr bwMode="auto">
          <a:xfrm>
            <a:off x="111880" y="117035"/>
            <a:ext cx="358571" cy="34679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7" tIns="35964" rIns="71927" bIns="35964" rtlCol="0" anchor="t" anchorCtr="0"/>
          <a:lstStyle/>
          <a:p>
            <a:pPr algn="ctr">
              <a:defRPr/>
            </a:pPr>
            <a:endParaRPr lang="ru-RU" sz="1600">
              <a:solidFill>
                <a:srgbClr val="FFFFFF"/>
              </a:solidFill>
            </a:endParaRPr>
          </a:p>
        </p:txBody>
      </p:sp>
      <p:sp>
        <p:nvSpPr>
          <p:cNvPr id="9" name="Овал 8"/>
          <p:cNvSpPr/>
          <p:nvPr/>
        </p:nvSpPr>
        <p:spPr bwMode="auto">
          <a:xfrm>
            <a:off x="551202" y="117132"/>
            <a:ext cx="358571" cy="34679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7" tIns="35964" rIns="71927" bIns="35964" rtlCol="0" anchor="t" anchorCtr="0"/>
          <a:lstStyle/>
          <a:p>
            <a:pPr algn="ctr">
              <a:defRPr/>
            </a:pPr>
            <a:endParaRPr lang="ru-RU" sz="1600">
              <a:solidFill>
                <a:srgbClr val="FFFFFF"/>
              </a:solidFill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 bwMode="auto">
          <a:xfrm>
            <a:off x="963023" y="126673"/>
            <a:ext cx="6546730" cy="371529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>
              <a:defRPr/>
            </a:pPr>
            <a:r>
              <a:rPr lang="ru-RU" sz="1600">
                <a:solidFill>
                  <a:schemeClr val="bg2"/>
                </a:solidFill>
                <a:latin typeface="GT Walsheim v2 Manual Bold"/>
              </a:rPr>
              <a:t>М</a:t>
            </a:r>
            <a:r>
              <a:rPr lang="ru-RU" sz="1600">
                <a:solidFill>
                  <a:schemeClr val="bg2"/>
                </a:solidFill>
                <a:latin typeface="GT Walsheim v2 Manual Bold"/>
              </a:rPr>
              <a:t>еры для соблюдения гигиенических нормативов 10мкВт/см2 </a:t>
            </a:r>
            <a:endParaRPr/>
          </a:p>
        </p:txBody>
      </p:sp>
      <p:pic>
        <p:nvPicPr>
          <p:cNvPr id="79880" name="Picture 8" descr="https://stroysar.ru/Userfiles/pub/img-main/2402/Shema_izluchenie.jpg"/>
          <p:cNvPicPr>
            <a:picLocks noChangeAspect="1" noChangeArrowheads="1"/>
          </p:cNvPicPr>
          <p:nvPr/>
        </p:nvPicPr>
        <p:blipFill>
          <a:blip r:embed="rId4"/>
          <a:stretch/>
        </p:blipFill>
        <p:spPr bwMode="auto">
          <a:xfrm>
            <a:off x="344691" y="708669"/>
            <a:ext cx="3857658" cy="1779667"/>
          </a:xfrm>
          <a:prstGeom prst="rect">
            <a:avLst/>
          </a:prstGeom>
          <a:noFill/>
        </p:spPr>
      </p:pic>
      <p:sp>
        <p:nvSpPr>
          <p:cNvPr id="19" name="Прямоугольник 18"/>
          <p:cNvSpPr/>
          <p:nvPr/>
        </p:nvSpPr>
        <p:spPr bwMode="auto">
          <a:xfrm>
            <a:off x="4356300" y="524904"/>
            <a:ext cx="4651513" cy="48582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801975">
              <a:lnSpc>
                <a:spcPct val="95000"/>
              </a:lnSpc>
              <a:spcBef>
                <a:spcPts val="0"/>
              </a:spcBef>
              <a:defRPr/>
            </a:pPr>
            <a:endParaRPr lang="ru-RU" sz="1400" b="1">
              <a:solidFill>
                <a:srgbClr val="7030A0"/>
              </a:solidFill>
              <a:latin typeface="Calibri"/>
              <a:cs typeface="Calibri"/>
            </a:endParaRPr>
          </a:p>
          <a:p>
            <a:pPr marL="342900" indent="-342900" algn="just" defTabSz="801975">
              <a:lnSpc>
                <a:spcPct val="95000"/>
              </a:lnSpc>
              <a:spcBef>
                <a:spcPts val="0"/>
              </a:spcBef>
              <a:buFont typeface="Wingdings"/>
              <a:buChar char="q"/>
              <a:defRPr/>
            </a:pPr>
            <a:r>
              <a:rPr lang="ru-RU" sz="1200" b="1">
                <a:solidFill>
                  <a:srgbClr val="00B050"/>
                </a:solidFill>
                <a:latin typeface="Calibri"/>
                <a:cs typeface="Calibri"/>
              </a:rPr>
              <a:t>Узкая диаграмма направленности у антенн</a:t>
            </a:r>
            <a:endParaRPr/>
          </a:p>
          <a:p>
            <a:pPr algn="just" defTabSz="801975">
              <a:lnSpc>
                <a:spcPct val="95000"/>
              </a:lnSpc>
              <a:spcBef>
                <a:spcPts val="0"/>
              </a:spcBef>
              <a:defRPr/>
            </a:pPr>
            <a:endParaRPr lang="ru-RU" sz="1200" b="1">
              <a:solidFill>
                <a:srgbClr val="7030A0"/>
              </a:solidFill>
              <a:latin typeface="Calibri"/>
              <a:cs typeface="Calibri"/>
            </a:endParaRPr>
          </a:p>
          <a:p>
            <a:pPr algn="just" defTabSz="801975">
              <a:lnSpc>
                <a:spcPct val="95000"/>
              </a:lnSpc>
              <a:spcBef>
                <a:spcPts val="0"/>
              </a:spcBef>
              <a:defRPr/>
            </a:pP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У антенны ярко выраженный главный луч.  Ширина диаграммы направленности в </a:t>
            </a: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горизонтальной </a:t>
            </a: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плоскости составляет </a:t>
            </a: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60°, в вертикальной </a:t>
            </a: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плоскости не </a:t>
            </a: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более 15°. Это позволяет лучу проходить на безопасной высоте (более 2 метров) над крышами жилых домов и зданий.</a:t>
            </a:r>
            <a:endParaRPr/>
          </a:p>
          <a:p>
            <a:pPr algn="just" defTabSz="801975">
              <a:lnSpc>
                <a:spcPct val="95000"/>
              </a:lnSpc>
              <a:spcBef>
                <a:spcPts val="0"/>
              </a:spcBef>
              <a:defRPr/>
            </a:pPr>
            <a:endParaRPr lang="ru-RU" sz="1200" b="1">
              <a:solidFill>
                <a:srgbClr val="7030A0"/>
              </a:solidFill>
              <a:latin typeface="Calibri"/>
              <a:cs typeface="Calibri"/>
            </a:endParaRPr>
          </a:p>
          <a:p>
            <a:pPr marL="342900" indent="-342900" algn="just" defTabSz="801975">
              <a:lnSpc>
                <a:spcPct val="95000"/>
              </a:lnSpc>
              <a:spcBef>
                <a:spcPts val="0"/>
              </a:spcBef>
              <a:buFont typeface="Wingdings"/>
              <a:buChar char="q"/>
              <a:defRPr/>
            </a:pPr>
            <a:r>
              <a:rPr lang="ru-RU" sz="1200" b="1">
                <a:solidFill>
                  <a:srgbClr val="00B050"/>
                </a:solidFill>
                <a:latin typeface="Calibri"/>
                <a:cs typeface="Calibri"/>
              </a:rPr>
              <a:t>Антенны не направляют на жилые дома </a:t>
            </a:r>
            <a:endParaRPr/>
          </a:p>
          <a:p>
            <a:pPr algn="just" defTabSz="801975">
              <a:lnSpc>
                <a:spcPct val="95000"/>
              </a:lnSpc>
              <a:spcBef>
                <a:spcPts val="0"/>
              </a:spcBef>
              <a:defRPr/>
            </a:pPr>
            <a:endParaRPr lang="ru-RU" sz="1200" b="1">
              <a:solidFill>
                <a:srgbClr val="7030A0"/>
              </a:solidFill>
              <a:latin typeface="Calibri"/>
              <a:cs typeface="Calibri"/>
            </a:endParaRPr>
          </a:p>
          <a:p>
            <a:pPr algn="just" defTabSz="801975">
              <a:lnSpc>
                <a:spcPct val="95000"/>
              </a:lnSpc>
              <a:spcBef>
                <a:spcPts val="0"/>
              </a:spcBef>
              <a:defRPr/>
            </a:pP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СВЧ </a:t>
            </a: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сильно затухает в атмосфере земли. </a:t>
            </a: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Электромагнитное поле с высоким уровнем ППЭ распространяется строго перед </a:t>
            </a: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антенной на расстоянии не более 60-70 метров. </a:t>
            </a: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Далее уровень затухает  ниже 10 мкВт/см2. Если расстояние до зданий меньше, то антенны отворачивают от здания.</a:t>
            </a:r>
            <a:endParaRPr/>
          </a:p>
          <a:p>
            <a:pPr algn="just" defTabSz="801975">
              <a:lnSpc>
                <a:spcPct val="95000"/>
              </a:lnSpc>
              <a:spcBef>
                <a:spcPts val="0"/>
              </a:spcBef>
              <a:defRPr/>
            </a:pPr>
            <a:endParaRPr lang="ru-RU" sz="1200" b="1">
              <a:solidFill>
                <a:srgbClr val="7030A0"/>
              </a:solidFill>
              <a:latin typeface="Calibri"/>
              <a:cs typeface="Calibri"/>
            </a:endParaRPr>
          </a:p>
          <a:p>
            <a:pPr marL="171450" indent="-171450" algn="just" defTabSz="801975">
              <a:lnSpc>
                <a:spcPct val="95000"/>
              </a:lnSpc>
              <a:spcBef>
                <a:spcPts val="0"/>
              </a:spcBef>
              <a:buFont typeface="Wingdings"/>
              <a:buChar char="q"/>
              <a:defRPr/>
            </a:pPr>
            <a:r>
              <a:rPr lang="ru-RU" sz="1200" b="1">
                <a:solidFill>
                  <a:srgbClr val="00B050"/>
                </a:solidFill>
                <a:latin typeface="Calibri"/>
                <a:cs typeface="Calibri"/>
              </a:rPr>
              <a:t> Уменьшение мощностей</a:t>
            </a:r>
            <a:endParaRPr/>
          </a:p>
          <a:p>
            <a:pPr algn="just" defTabSz="801975">
              <a:lnSpc>
                <a:spcPct val="95000"/>
              </a:lnSpc>
              <a:spcBef>
                <a:spcPts val="0"/>
              </a:spcBef>
              <a:defRPr/>
            </a:pPr>
            <a:endParaRPr lang="ru-RU" sz="1200" b="1">
              <a:solidFill>
                <a:srgbClr val="7030A0"/>
              </a:solidFill>
              <a:latin typeface="Calibri"/>
              <a:cs typeface="Calibri"/>
            </a:endParaRPr>
          </a:p>
          <a:p>
            <a:pPr algn="just" defTabSz="801975">
              <a:lnSpc>
                <a:spcPct val="95000"/>
              </a:lnSpc>
              <a:spcBef>
                <a:spcPts val="0"/>
              </a:spcBef>
              <a:defRPr/>
            </a:pPr>
            <a:r>
              <a:rPr lang="ru-RU" sz="1200" b="1">
                <a:solidFill>
                  <a:srgbClr val="7030A0"/>
                </a:solidFill>
                <a:latin typeface="Calibri"/>
                <a:cs typeface="Calibri"/>
              </a:rPr>
              <a:t>Если в одной точке размещаются несколько сотовых операторов, расчет электромагнитного поля ведется суммарно для всех. Операторы договариваются о взаимном снижении мощностей, если суммарный уровень превышает предельно-допустимый.</a:t>
            </a:r>
            <a:endParaRPr lang="ru-RU" sz="1200" b="1">
              <a:solidFill>
                <a:srgbClr val="7030A0"/>
              </a:solidFill>
              <a:latin typeface="Calibri"/>
              <a:cs typeface="Calibri"/>
            </a:endParaRPr>
          </a:p>
          <a:p>
            <a:pPr marL="342900" indent="-342900" algn="just" defTabSz="801975">
              <a:lnSpc>
                <a:spcPct val="95000"/>
              </a:lnSpc>
              <a:spcBef>
                <a:spcPts val="0"/>
              </a:spcBef>
              <a:buFont typeface="Wingdings"/>
              <a:buChar char="q"/>
              <a:defRPr/>
            </a:pPr>
            <a:endParaRPr lang="ru-RU" sz="1200" b="1">
              <a:solidFill>
                <a:srgbClr val="7030A0"/>
              </a:solidFill>
              <a:latin typeface="Calibri"/>
              <a:cs typeface="Calibri"/>
            </a:endParaRPr>
          </a:p>
          <a:p>
            <a:pPr marL="342900" indent="-342900" algn="just" defTabSz="801975">
              <a:lnSpc>
                <a:spcPct val="95000"/>
              </a:lnSpc>
              <a:spcBef>
                <a:spcPts val="0"/>
              </a:spcBef>
              <a:buFont typeface="Wingdings"/>
              <a:buChar char="q"/>
              <a:defRPr/>
            </a:pPr>
            <a:endParaRPr lang="ru-RU" sz="1200" b="1">
              <a:solidFill>
                <a:srgbClr val="7030A0"/>
              </a:solidFill>
              <a:latin typeface="Calibri"/>
              <a:cs typeface="Calibri"/>
            </a:endParaRPr>
          </a:p>
          <a:p>
            <a:pPr marL="342900" indent="-342900" algn="just" defTabSz="801975">
              <a:lnSpc>
                <a:spcPct val="95000"/>
              </a:lnSpc>
              <a:spcBef>
                <a:spcPts val="0"/>
              </a:spcBef>
              <a:buFont typeface="Wingdings"/>
              <a:buChar char="q"/>
              <a:defRPr/>
            </a:pPr>
            <a:endParaRPr lang="ru-RU" sz="1200" b="1">
              <a:solidFill>
                <a:srgbClr val="7030A0"/>
              </a:solidFill>
              <a:latin typeface="Calibri"/>
              <a:cs typeface="Calibri"/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1231107" y="2690981"/>
            <a:ext cx="2005057" cy="199889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79881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0F83C6A9-09AF-44EB-BB3F-3943791E8916}" type="slidenum">
              <a:rPr lang="ru-RU">
                <a:solidFill>
                  <a:srgbClr val="000000"/>
                </a:solidFill>
              </a:rPr>
              <a:t>9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Овал 7"/>
          <p:cNvSpPr/>
          <p:nvPr/>
        </p:nvSpPr>
        <p:spPr bwMode="auto">
          <a:xfrm>
            <a:off x="111880" y="117035"/>
            <a:ext cx="358571" cy="34679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7" tIns="35964" rIns="71927" bIns="35964" rtlCol="0" anchor="t" anchorCtr="0"/>
          <a:lstStyle/>
          <a:p>
            <a:pPr algn="ctr">
              <a:defRPr/>
            </a:pPr>
            <a:endParaRPr lang="ru-RU" sz="1600">
              <a:solidFill>
                <a:srgbClr val="FFFFFF"/>
              </a:solidFill>
            </a:endParaRPr>
          </a:p>
        </p:txBody>
      </p:sp>
      <p:sp>
        <p:nvSpPr>
          <p:cNvPr id="9" name="Овал 8"/>
          <p:cNvSpPr/>
          <p:nvPr/>
        </p:nvSpPr>
        <p:spPr bwMode="auto">
          <a:xfrm>
            <a:off x="551202" y="117132"/>
            <a:ext cx="358571" cy="34679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7" tIns="35964" rIns="71927" bIns="35964" rtlCol="0" anchor="t" anchorCtr="0"/>
          <a:lstStyle/>
          <a:p>
            <a:pPr algn="ctr">
              <a:defRPr/>
            </a:pPr>
            <a:endParaRPr lang="ru-RU" sz="1600">
              <a:solidFill>
                <a:srgbClr val="FFFFFF"/>
              </a:solidFill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 bwMode="auto">
          <a:xfrm>
            <a:off x="997400" y="147299"/>
            <a:ext cx="6402106" cy="371529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>
              <a:defRPr/>
            </a:pPr>
            <a:r>
              <a:rPr lang="ru-RU" sz="1600">
                <a:solidFill>
                  <a:schemeClr val="bg2"/>
                </a:solidFill>
                <a:latin typeface="GT Walsheim v2 Manual Bold"/>
              </a:rPr>
              <a:t>Предпочтения при размещении базовых станций на крышах</a:t>
            </a:r>
            <a:endParaRPr/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4909224" y="870588"/>
            <a:ext cx="3957074" cy="34547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801975">
              <a:lnSpc>
                <a:spcPct val="95000"/>
              </a:lnSpc>
              <a:spcBef>
                <a:spcPts val="0"/>
              </a:spcBef>
              <a:defRPr/>
            </a:pPr>
            <a:endParaRPr lang="ru-RU" sz="1400" b="1">
              <a:solidFill>
                <a:srgbClr val="7030A0"/>
              </a:solidFill>
              <a:latin typeface="Arial Rounded MT Bold"/>
              <a:cs typeface="Arial"/>
            </a:endParaRPr>
          </a:p>
          <a:p>
            <a:pPr marL="342900" indent="-342900" algn="just" defTabSz="801975">
              <a:lnSpc>
                <a:spcPct val="95000"/>
              </a:lnSpc>
              <a:spcBef>
                <a:spcPts val="0"/>
              </a:spcBef>
              <a:buFont typeface="Wingdings"/>
              <a:buChar char="q"/>
              <a:defRPr/>
            </a:pPr>
            <a:r>
              <a:rPr lang="ru-RU" sz="1200" b="1">
                <a:solidFill>
                  <a:srgbClr val="7030A0"/>
                </a:solidFill>
                <a:latin typeface="Arial Rounded MT Bold"/>
                <a:cs typeface="Arial"/>
              </a:rPr>
              <a:t>Размещение абсолютно безопасно для людей, находящихся на крышах и для жителей верхних этажей, т.к. антенны абсолютно не излучают вниз</a:t>
            </a:r>
            <a:endParaRPr/>
          </a:p>
          <a:p>
            <a:pPr algn="just" defTabSz="801975">
              <a:lnSpc>
                <a:spcPct val="95000"/>
              </a:lnSpc>
              <a:spcBef>
                <a:spcPts val="0"/>
              </a:spcBef>
              <a:defRPr/>
            </a:pPr>
            <a:endParaRPr lang="ru-RU" sz="1200" b="1">
              <a:solidFill>
                <a:srgbClr val="7030A0"/>
              </a:solidFill>
              <a:latin typeface="Arial Rounded MT Bold"/>
              <a:cs typeface="Arial"/>
            </a:endParaRPr>
          </a:p>
          <a:p>
            <a:pPr marL="342900" indent="-342900" algn="just" defTabSz="801975">
              <a:lnSpc>
                <a:spcPct val="95000"/>
              </a:lnSpc>
              <a:spcBef>
                <a:spcPts val="0"/>
              </a:spcBef>
              <a:buFont typeface="Wingdings"/>
              <a:buChar char="q"/>
              <a:defRPr/>
            </a:pPr>
            <a:r>
              <a:rPr lang="ru-RU" sz="1200" b="1">
                <a:solidFill>
                  <a:srgbClr val="7030A0"/>
                </a:solidFill>
                <a:latin typeface="Arial Rounded MT Bold"/>
                <a:cs typeface="Arial"/>
              </a:rPr>
              <a:t>Эстетически более привлекательно, чем вид</a:t>
            </a:r>
            <a:r>
              <a:rPr lang="ru-RU" sz="1200" b="1">
                <a:solidFill>
                  <a:srgbClr val="7030A0"/>
                </a:solidFill>
                <a:latin typeface="Arial Rounded MT Bold"/>
                <a:cs typeface="Arial"/>
              </a:rPr>
              <a:t> </a:t>
            </a:r>
            <a:r>
              <a:rPr lang="ru-RU" sz="1200" b="1">
                <a:solidFill>
                  <a:srgbClr val="7030A0"/>
                </a:solidFill>
                <a:latin typeface="Arial Rounded MT Bold"/>
                <a:cs typeface="Arial"/>
              </a:rPr>
              <a:t>из окна антенно-мачтовых сооружений</a:t>
            </a:r>
            <a:endParaRPr/>
          </a:p>
          <a:p>
            <a:pPr algn="just" defTabSz="801975">
              <a:lnSpc>
                <a:spcPct val="95000"/>
              </a:lnSpc>
              <a:spcBef>
                <a:spcPts val="0"/>
              </a:spcBef>
              <a:defRPr/>
            </a:pPr>
            <a:endParaRPr lang="ru-RU" sz="1200" b="1">
              <a:solidFill>
                <a:srgbClr val="7030A0"/>
              </a:solidFill>
              <a:latin typeface="Arial Rounded MT Bold"/>
              <a:cs typeface="Arial"/>
            </a:endParaRPr>
          </a:p>
          <a:p>
            <a:pPr marL="342900" indent="-342900" algn="just" defTabSz="801975">
              <a:lnSpc>
                <a:spcPct val="95000"/>
              </a:lnSpc>
              <a:spcBef>
                <a:spcPts val="0"/>
              </a:spcBef>
              <a:buFont typeface="Wingdings"/>
              <a:buChar char="q"/>
              <a:defRPr/>
            </a:pPr>
            <a:r>
              <a:rPr lang="ru-RU" sz="1200" b="1">
                <a:solidFill>
                  <a:srgbClr val="7030A0"/>
                </a:solidFill>
                <a:latin typeface="Arial Rounded MT Bold"/>
                <a:cs typeface="Arial"/>
              </a:rPr>
              <a:t>Размещение возмездное. Оплата идёт на лицевой счет дома на общедомовые нужны (капитальный ремонт, детские площадки, шлагбаумы и т.д.)</a:t>
            </a:r>
            <a:endParaRPr/>
          </a:p>
          <a:p>
            <a:pPr marL="342900" indent="-342900" algn="just" defTabSz="801975">
              <a:lnSpc>
                <a:spcPct val="95000"/>
              </a:lnSpc>
              <a:spcBef>
                <a:spcPts val="0"/>
              </a:spcBef>
              <a:buFont typeface="Wingdings"/>
              <a:buChar char="q"/>
              <a:defRPr/>
            </a:pPr>
            <a:endParaRPr lang="ru-RU" sz="1200" b="1">
              <a:solidFill>
                <a:srgbClr val="7030A0"/>
              </a:solidFill>
              <a:latin typeface="Arial Rounded MT Bold"/>
              <a:cs typeface="Arial"/>
            </a:endParaRPr>
          </a:p>
          <a:p>
            <a:pPr marL="342900" indent="-342900" algn="just" defTabSz="801975">
              <a:lnSpc>
                <a:spcPct val="95000"/>
              </a:lnSpc>
              <a:spcBef>
                <a:spcPts val="0"/>
              </a:spcBef>
              <a:buFont typeface="Wingdings"/>
              <a:buChar char="q"/>
              <a:defRPr/>
            </a:pPr>
            <a:r>
              <a:rPr lang="ru-RU" sz="1200" b="1">
                <a:solidFill>
                  <a:srgbClr val="7030A0"/>
                </a:solidFill>
                <a:latin typeface="Arial Rounded MT Bold"/>
                <a:cs typeface="Arial"/>
              </a:rPr>
              <a:t>Близость базовой станции это качество связи, быстрый мобильный Интернет, низкая мощность и длительный заряд телефона</a:t>
            </a:r>
            <a:endParaRPr/>
          </a:p>
          <a:p>
            <a:pPr algn="just" defTabSz="801975">
              <a:lnSpc>
                <a:spcPct val="95000"/>
              </a:lnSpc>
              <a:spcBef>
                <a:spcPts val="0"/>
              </a:spcBef>
              <a:defRPr/>
            </a:pPr>
            <a:endParaRPr lang="ru-RU" sz="1200" b="1">
              <a:solidFill>
                <a:srgbClr val="7030A0"/>
              </a:solidFill>
              <a:latin typeface="Arial Rounded MT Bold"/>
              <a:cs typeface="Arial"/>
            </a:endParaRPr>
          </a:p>
          <a:p>
            <a:pPr marL="342900" indent="-342900" algn="just" defTabSz="801975">
              <a:lnSpc>
                <a:spcPct val="95000"/>
              </a:lnSpc>
              <a:spcBef>
                <a:spcPts val="0"/>
              </a:spcBef>
              <a:buFont typeface="Wingdings"/>
              <a:buChar char="q"/>
              <a:defRPr/>
            </a:pPr>
            <a:r>
              <a:rPr lang="ru-RU" sz="1200" b="1">
                <a:solidFill>
                  <a:srgbClr val="7030A0"/>
                </a:solidFill>
                <a:latin typeface="Arial Rounded MT Bold"/>
                <a:cs typeface="Arial"/>
              </a:rPr>
              <a:t>Возможность управлять шлагбаумами во дворе, сигнализациями и любыми устройствами, имеющими </a:t>
            </a:r>
            <a:r>
              <a:rPr lang="en-US" sz="1200" b="1">
                <a:solidFill>
                  <a:srgbClr val="7030A0"/>
                </a:solidFill>
                <a:latin typeface="Arial Rounded MT Bold"/>
                <a:cs typeface="Arial"/>
              </a:rPr>
              <a:t>SIM</a:t>
            </a:r>
            <a:endParaRPr lang="ru-RU" sz="1200" b="1">
              <a:solidFill>
                <a:srgbClr val="7030A0"/>
              </a:solidFill>
              <a:latin typeface="Arial Rounded MT Bold"/>
              <a:cs typeface="Arial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393314" y="1095982"/>
            <a:ext cx="4230566" cy="321891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  <p:timing>
    <p:tnLst>
      <p:par>
        <p:cTn id="1" dur="indefinite" restart="never" nodeType="tmRoot"/>
      </p:par>
    </p:tnLst>
  </p:timing>
</p:sld>
</file>

<file path=ppt/theme/_rels/theme1.xml.rels><?xml version="1.0" encoding="UTF-8" standalone="yes"?><Relationships xmlns="http://schemas.openxmlformats.org/package/2006/relationships"></Relationships>
</file>

<file path=ppt/theme/theme1.xml><?xml version="1.0" encoding="utf-8"?>
<a:theme xmlns:a="http://schemas.openxmlformats.org/drawingml/2006/main" xmlns:r="http://schemas.openxmlformats.org/officeDocument/2006/relationships" xmlns:p="http://schemas.openxmlformats.org/presentationml/2006/main" name="2017_MegaFon">
  <a:themeElements>
    <a:clrScheme name="Megaphon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28B93C"/>
      </a:accent1>
      <a:accent2>
        <a:srgbClr val="731982"/>
      </a:accent2>
      <a:accent3>
        <a:srgbClr val="5BD9E5"/>
      </a:accent3>
      <a:accent4>
        <a:srgbClr val="444189"/>
      </a:accent4>
      <a:accent5>
        <a:srgbClr val="FFA717"/>
      </a:accent5>
      <a:accent6>
        <a:srgbClr val="EB5A40"/>
      </a:accent6>
      <a:hlink>
        <a:srgbClr val="0563C1"/>
      </a:hlink>
      <a:folHlink>
        <a:srgbClr val="954F72"/>
      </a:folHlink>
    </a:clrScheme>
    <a:fontScheme name="Benutzerdefiniert 5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prstGeom prst="rect">
          <a:avLst/>
        </a:prstGeom>
        <a:ln>
          <a:noFill/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prstGeom prst="rect">
          <a:avLst/>
        </a:prstGeom>
        <a:noFill/>
      </a:spPr>
      <a:bodyPr/>
      <a:lstStyle/>
    </a:txDef>
  </a:objectDefaults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0</Words>
  <Application>r7-office/2024.3.2.622</Application>
  <DocSecurity>0</DocSecurity>
  <PresentationFormat>Произвольный</PresentationFormat>
  <Paragraphs>0</Paragraphs>
  <Slides>11</Slides>
  <Notes>11</Notes>
  <HiddenSlides>0</HiddenSlides>
  <MMClips>2</MMClips>
  <ScaleCrop>0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2" baseType="lpstr">
      <vt:lpstr>Theme 1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</vt:vector>
  </TitlesOfParts>
  <Manager/>
  <Company/>
  <LinksUpToDate>0</LinksUpToDate>
  <SharedDoc>0</SharedDoc>
  <HyperlinkBase/>
  <HyperlinksChanged>0</HyperlinksChanged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Maximilian Jung</dc:creator>
  <cp:keywords/>
  <dc:description/>
  <dc:identifier/>
  <dc:language/>
  <cp:lastModifiedBy>Аноним</cp:lastModifiedBy>
  <cp:revision>434</cp:revision>
  <dcterms:created xsi:type="dcterms:W3CDTF">2017-12-18T14:25:56Z</dcterms:created>
  <dcterms:modified xsi:type="dcterms:W3CDTF">2025-03-28T02:38:49Z</dcterms:modified>
  <cp:category/>
  <cp:contentStatus/>
  <cp:version/>
</cp:coreProperties>
</file>